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0" r:id="rId5"/>
    <p:sldMasterId id="2147483693" r:id="rId6"/>
    <p:sldMasterId id="2147483735" r:id="rId7"/>
    <p:sldMasterId id="2147483747" r:id="rId8"/>
  </p:sldMasterIdLst>
  <p:notesMasterIdLst>
    <p:notesMasterId r:id="rId12"/>
  </p:notesMasterIdLst>
  <p:sldIdLst>
    <p:sldId id="838840203" r:id="rId9"/>
    <p:sldId id="2147307531" r:id="rId10"/>
    <p:sldId id="2147307532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orkforce" id="{ACE3090A-99D2-4CFE-91D5-8FFF5269FA37}">
          <p14:sldIdLst>
            <p14:sldId id="838840203"/>
            <p14:sldId id="2147307531"/>
            <p14:sldId id="214730753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dro Vaz" initials="PV" lastIdx="16" clrIdx="0">
    <p:extLst>
      <p:ext uri="{19B8F6BF-5375-455C-9EA6-DF929625EA0E}">
        <p15:presenceInfo xmlns:p15="http://schemas.microsoft.com/office/powerpoint/2012/main" userId="S::pedro.vaz@accenture.com::ce26620d-8ffe-4aa6-abd7-19d547ea6f29" providerId="AD"/>
      </p:ext>
    </p:extLst>
  </p:cmAuthor>
  <p:cmAuthor id="2" name="Tyagi, Vikas X." initials="TX" lastIdx="2" clrIdx="1">
    <p:extLst>
      <p:ext uri="{19B8F6BF-5375-455C-9EA6-DF929625EA0E}">
        <p15:presenceInfo xmlns:p15="http://schemas.microsoft.com/office/powerpoint/2012/main" userId="S::vikas.x.tyagi@accenture.com::e6b160a9-e15d-429f-9bb1-3f6b2628b8a8" providerId="AD"/>
      </p:ext>
    </p:extLst>
  </p:cmAuthor>
  <p:cmAuthor id="3" name="Reynolds, Tim" initials="RT" lastIdx="1" clrIdx="2">
    <p:extLst>
      <p:ext uri="{19B8F6BF-5375-455C-9EA6-DF929625EA0E}">
        <p15:presenceInfo xmlns:p15="http://schemas.microsoft.com/office/powerpoint/2012/main" userId="S::tim.reynolds@accenture.com::474805a4-3ae6-42dc-8e53-f2601aee5a34" providerId="AD"/>
      </p:ext>
    </p:extLst>
  </p:cmAuthor>
  <p:cmAuthor id="4" name="Smith3, David" initials="SD" lastIdx="12" clrIdx="3">
    <p:extLst>
      <p:ext uri="{19B8F6BF-5375-455C-9EA6-DF929625EA0E}">
        <p15:presenceInfo xmlns:p15="http://schemas.microsoft.com/office/powerpoint/2012/main" userId="S::David.Smith32@uk.nationalgrid.com::02ddaf5c-1808-4dae-bb4b-7bb85b25d22d" providerId="AD"/>
      </p:ext>
    </p:extLst>
  </p:cmAuthor>
  <p:cmAuthor id="5" name="Bharj, Kam" initials="BK" lastIdx="1" clrIdx="4">
    <p:extLst>
      <p:ext uri="{19B8F6BF-5375-455C-9EA6-DF929625EA0E}">
        <p15:presenceInfo xmlns:p15="http://schemas.microsoft.com/office/powerpoint/2012/main" userId="S::Kam.Bharj@uk.nationalgrid.com::c346c863-01be-4a71-ba36-8d40a81621a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3C32"/>
    <a:srgbClr val="00148C"/>
    <a:srgbClr val="FA4616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74" autoAdjust="0"/>
    <p:restoredTop sz="93792" autoAdjust="0"/>
  </p:normalViewPr>
  <p:slideViewPr>
    <p:cSldViewPr snapToGrid="0">
      <p:cViewPr>
        <p:scale>
          <a:sx n="75" d="100"/>
          <a:sy n="75" d="100"/>
        </p:scale>
        <p:origin x="228" y="-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jwaliya, Nishit" userId="d6171631-3d08-453d-8afd-2dc62a5026e2" providerId="ADAL" clId="{395C352A-CF5C-42BC-8A05-17DA5D0DE960}"/>
    <pc:docChg chg="custSel modSld">
      <pc:chgData name="Ajwaliya, Nishit" userId="d6171631-3d08-453d-8afd-2dc62a5026e2" providerId="ADAL" clId="{395C352A-CF5C-42BC-8A05-17DA5D0DE960}" dt="2021-10-04T12:50:23.733" v="52" actId="22"/>
      <pc:docMkLst>
        <pc:docMk/>
      </pc:docMkLst>
      <pc:sldChg chg="addSp delSp modSp mod">
        <pc:chgData name="Ajwaliya, Nishit" userId="d6171631-3d08-453d-8afd-2dc62a5026e2" providerId="ADAL" clId="{395C352A-CF5C-42BC-8A05-17DA5D0DE960}" dt="2021-10-04T12:50:23.733" v="52" actId="22"/>
        <pc:sldMkLst>
          <pc:docMk/>
          <pc:sldMk cId="3198995261" sldId="838840203"/>
        </pc:sldMkLst>
        <pc:spChg chg="mod">
          <ac:chgData name="Ajwaliya, Nishit" userId="d6171631-3d08-453d-8afd-2dc62a5026e2" providerId="ADAL" clId="{395C352A-CF5C-42BC-8A05-17DA5D0DE960}" dt="2021-10-04T12:50:10.562" v="50" actId="20577"/>
          <ac:spMkLst>
            <pc:docMk/>
            <pc:sldMk cId="3198995261" sldId="838840203"/>
            <ac:spMk id="2" creationId="{DEE005B2-3512-4AD4-BA08-567DC24E470A}"/>
          </ac:spMkLst>
        </pc:spChg>
        <pc:spChg chg="del">
          <ac:chgData name="Ajwaliya, Nishit" userId="d6171631-3d08-453d-8afd-2dc62a5026e2" providerId="ADAL" clId="{395C352A-CF5C-42BC-8A05-17DA5D0DE960}" dt="2021-10-04T12:39:16.285" v="14" actId="478"/>
          <ac:spMkLst>
            <pc:docMk/>
            <pc:sldMk cId="3198995261" sldId="838840203"/>
            <ac:spMk id="8" creationId="{DC781E0F-358F-4BBA-8BD2-DDC5D503158F}"/>
          </ac:spMkLst>
        </pc:spChg>
        <pc:picChg chg="add">
          <ac:chgData name="Ajwaliya, Nishit" userId="d6171631-3d08-453d-8afd-2dc62a5026e2" providerId="ADAL" clId="{395C352A-CF5C-42BC-8A05-17DA5D0DE960}" dt="2021-10-04T12:50:23.733" v="52" actId="22"/>
          <ac:picMkLst>
            <pc:docMk/>
            <pc:sldMk cId="3198995261" sldId="838840203"/>
            <ac:picMk id="4" creationId="{0F05942D-253D-4745-81B9-51B46783EDAC}"/>
          </ac:picMkLst>
        </pc:picChg>
        <pc:picChg chg="del mod">
          <ac:chgData name="Ajwaliya, Nishit" userId="d6171631-3d08-453d-8afd-2dc62a5026e2" providerId="ADAL" clId="{395C352A-CF5C-42BC-8A05-17DA5D0DE960}" dt="2021-10-04T12:50:15.834" v="51" actId="478"/>
          <ac:picMkLst>
            <pc:docMk/>
            <pc:sldMk cId="3198995261" sldId="838840203"/>
            <ac:picMk id="7" creationId="{F780C6EA-05B5-4DCA-90F8-A37CA5BEB15C}"/>
          </ac:picMkLst>
        </pc:picChg>
      </pc:sldChg>
      <pc:sldChg chg="addSp delSp modSp mod">
        <pc:chgData name="Ajwaliya, Nishit" userId="d6171631-3d08-453d-8afd-2dc62a5026e2" providerId="ADAL" clId="{395C352A-CF5C-42BC-8A05-17DA5D0DE960}" dt="2021-10-04T12:49:54.226" v="40" actId="20577"/>
        <pc:sldMkLst>
          <pc:docMk/>
          <pc:sldMk cId="1538689941" sldId="2147307531"/>
        </pc:sldMkLst>
        <pc:spChg chg="mod">
          <ac:chgData name="Ajwaliya, Nishit" userId="d6171631-3d08-453d-8afd-2dc62a5026e2" providerId="ADAL" clId="{395C352A-CF5C-42BC-8A05-17DA5D0DE960}" dt="2021-10-04T12:49:54.226" v="40" actId="20577"/>
          <ac:spMkLst>
            <pc:docMk/>
            <pc:sldMk cId="1538689941" sldId="2147307531"/>
            <ac:spMk id="2" creationId="{DEE005B2-3512-4AD4-BA08-567DC24E470A}"/>
          </ac:spMkLst>
        </pc:spChg>
        <pc:spChg chg="del">
          <ac:chgData name="Ajwaliya, Nishit" userId="d6171631-3d08-453d-8afd-2dc62a5026e2" providerId="ADAL" clId="{395C352A-CF5C-42BC-8A05-17DA5D0DE960}" dt="2021-10-04T12:39:37.408" v="18" actId="478"/>
          <ac:spMkLst>
            <pc:docMk/>
            <pc:sldMk cId="1538689941" sldId="2147307531"/>
            <ac:spMk id="8" creationId="{DC781E0F-358F-4BBA-8BD2-DDC5D503158F}"/>
          </ac:spMkLst>
        </pc:spChg>
        <pc:picChg chg="add mod">
          <ac:chgData name="Ajwaliya, Nishit" userId="d6171631-3d08-453d-8afd-2dc62a5026e2" providerId="ADAL" clId="{395C352A-CF5C-42BC-8A05-17DA5D0DE960}" dt="2021-10-04T12:39:03.753" v="5" actId="1076"/>
          <ac:picMkLst>
            <pc:docMk/>
            <pc:sldMk cId="1538689941" sldId="2147307531"/>
            <ac:picMk id="4" creationId="{1A42F0ED-20B7-4220-8360-93C648E0CBBE}"/>
          </ac:picMkLst>
        </pc:picChg>
        <pc:picChg chg="del">
          <ac:chgData name="Ajwaliya, Nishit" userId="d6171631-3d08-453d-8afd-2dc62a5026e2" providerId="ADAL" clId="{395C352A-CF5C-42BC-8A05-17DA5D0DE960}" dt="2021-10-04T12:38:23.375" v="0" actId="478"/>
          <ac:picMkLst>
            <pc:docMk/>
            <pc:sldMk cId="1538689941" sldId="2147307531"/>
            <ac:picMk id="5" creationId="{284BA931-13BA-4613-A4AB-D0ECD9164F4A}"/>
          </ac:picMkLst>
        </pc:picChg>
      </pc:sldChg>
      <pc:sldChg chg="delSp modSp mod">
        <pc:chgData name="Ajwaliya, Nishit" userId="d6171631-3d08-453d-8afd-2dc62a5026e2" providerId="ADAL" clId="{395C352A-CF5C-42BC-8A05-17DA5D0DE960}" dt="2021-10-04T12:40:04.144" v="34" actId="1037"/>
        <pc:sldMkLst>
          <pc:docMk/>
          <pc:sldMk cId="2924946486" sldId="2147307532"/>
        </pc:sldMkLst>
        <pc:spChg chg="mod">
          <ac:chgData name="Ajwaliya, Nishit" userId="d6171631-3d08-453d-8afd-2dc62a5026e2" providerId="ADAL" clId="{395C352A-CF5C-42BC-8A05-17DA5D0DE960}" dt="2021-10-04T12:40:04.144" v="34" actId="1037"/>
          <ac:spMkLst>
            <pc:docMk/>
            <pc:sldMk cId="2924946486" sldId="2147307532"/>
            <ac:spMk id="102" creationId="{B9C48391-D516-4B99-9594-2AABB5CA04A0}"/>
          </ac:spMkLst>
        </pc:spChg>
        <pc:spChg chg="del">
          <ac:chgData name="Ajwaliya, Nishit" userId="d6171631-3d08-453d-8afd-2dc62a5026e2" providerId="ADAL" clId="{395C352A-CF5C-42BC-8A05-17DA5D0DE960}" dt="2021-10-04T12:39:59.201" v="26" actId="478"/>
          <ac:spMkLst>
            <pc:docMk/>
            <pc:sldMk cId="2924946486" sldId="2147307532"/>
            <ac:spMk id="106" creationId="{0A07051D-CE3B-4EC8-B18C-540B45AB3DB7}"/>
          </ac:spMkLst>
        </pc:spChg>
      </pc:sldChg>
    </pc:docChg>
  </pc:docChgLst>
  <pc:docChgLst>
    <pc:chgData name="Ajwaliya, Nishit" userId="d6171631-3d08-453d-8afd-2dc62a5026e2" providerId="ADAL" clId="{F930F145-11E2-4940-BA51-83DD3F7DDDCE}"/>
    <pc:docChg chg="custSel addSld delSld modSld modSection">
      <pc:chgData name="Ajwaliya, Nishit" userId="d6171631-3d08-453d-8afd-2dc62a5026e2" providerId="ADAL" clId="{F930F145-11E2-4940-BA51-83DD3F7DDDCE}" dt="2021-08-13T19:38:15.643" v="26" actId="20577"/>
      <pc:docMkLst>
        <pc:docMk/>
      </pc:docMkLst>
      <pc:sldChg chg="del">
        <pc:chgData name="Ajwaliya, Nishit" userId="d6171631-3d08-453d-8afd-2dc62a5026e2" providerId="ADAL" clId="{F930F145-11E2-4940-BA51-83DD3F7DDDCE}" dt="2021-08-06T20:21:58.512" v="23" actId="47"/>
        <pc:sldMkLst>
          <pc:docMk/>
          <pc:sldMk cId="1517717599" sldId="2147307518"/>
        </pc:sldMkLst>
      </pc:sldChg>
      <pc:sldChg chg="addSp delSp modSp mod">
        <pc:chgData name="Ajwaliya, Nishit" userId="d6171631-3d08-453d-8afd-2dc62a5026e2" providerId="ADAL" clId="{F930F145-11E2-4940-BA51-83DD3F7DDDCE}" dt="2021-08-06T17:51:00.051" v="3" actId="1076"/>
        <pc:sldMkLst>
          <pc:docMk/>
          <pc:sldMk cId="1538689941" sldId="2147307531"/>
        </pc:sldMkLst>
        <pc:picChg chg="del">
          <ac:chgData name="Ajwaliya, Nishit" userId="d6171631-3d08-453d-8afd-2dc62a5026e2" providerId="ADAL" clId="{F930F145-11E2-4940-BA51-83DD3F7DDDCE}" dt="2021-08-06T16:33:53.903" v="0" actId="478"/>
          <ac:picMkLst>
            <pc:docMk/>
            <pc:sldMk cId="1538689941" sldId="2147307531"/>
            <ac:picMk id="4" creationId="{0244052E-3E09-4981-9EC3-CC1CA0A7AA74}"/>
          </ac:picMkLst>
        </pc:picChg>
        <pc:picChg chg="add mod">
          <ac:chgData name="Ajwaliya, Nishit" userId="d6171631-3d08-453d-8afd-2dc62a5026e2" providerId="ADAL" clId="{F930F145-11E2-4940-BA51-83DD3F7DDDCE}" dt="2021-08-06T17:51:00.051" v="3" actId="1076"/>
          <ac:picMkLst>
            <pc:docMk/>
            <pc:sldMk cId="1538689941" sldId="2147307531"/>
            <ac:picMk id="5" creationId="{284BA931-13BA-4613-A4AB-D0ECD9164F4A}"/>
          </ac:picMkLst>
        </pc:picChg>
      </pc:sldChg>
      <pc:sldChg chg="addSp modSp add mod modNotes">
        <pc:chgData name="Ajwaliya, Nishit" userId="d6171631-3d08-453d-8afd-2dc62a5026e2" providerId="ADAL" clId="{F930F145-11E2-4940-BA51-83DD3F7DDDCE}" dt="2021-08-13T19:38:15.643" v="26" actId="20577"/>
        <pc:sldMkLst>
          <pc:docMk/>
          <pc:sldMk cId="2924946486" sldId="2147307532"/>
        </pc:sldMkLst>
        <pc:spChg chg="mod">
          <ac:chgData name="Ajwaliya, Nishit" userId="d6171631-3d08-453d-8afd-2dc62a5026e2" providerId="ADAL" clId="{F930F145-11E2-4940-BA51-83DD3F7DDDCE}" dt="2021-08-06T20:21:51.947" v="22" actId="20577"/>
          <ac:spMkLst>
            <pc:docMk/>
            <pc:sldMk cId="2924946486" sldId="2147307532"/>
            <ac:spMk id="102" creationId="{B9C48391-D516-4B99-9594-2AABB5CA04A0}"/>
          </ac:spMkLst>
        </pc:spChg>
        <pc:spChg chg="add mod">
          <ac:chgData name="Ajwaliya, Nishit" userId="d6171631-3d08-453d-8afd-2dc62a5026e2" providerId="ADAL" clId="{F930F145-11E2-4940-BA51-83DD3F7DDDCE}" dt="2021-08-06T20:21:43.347" v="6"/>
          <ac:spMkLst>
            <pc:docMk/>
            <pc:sldMk cId="2924946486" sldId="2147307532"/>
            <ac:spMk id="106" creationId="{0A07051D-CE3B-4EC8-B18C-540B45AB3DB7}"/>
          </ac:spMkLst>
        </pc:spChg>
        <pc:spChg chg="mod">
          <ac:chgData name="Ajwaliya, Nishit" userId="d6171631-3d08-453d-8afd-2dc62a5026e2" providerId="ADAL" clId="{F930F145-11E2-4940-BA51-83DD3F7DDDCE}" dt="2021-08-13T19:34:37.188" v="25" actId="20577"/>
          <ac:spMkLst>
            <pc:docMk/>
            <pc:sldMk cId="2924946486" sldId="2147307532"/>
            <ac:spMk id="152" creationId="{DCA6D242-BDDC-40D6-91DE-750F5A4CC991}"/>
          </ac:spMkLst>
        </pc:spChg>
        <pc:spChg chg="mod">
          <ac:chgData name="Ajwaliya, Nishit" userId="d6171631-3d08-453d-8afd-2dc62a5026e2" providerId="ADAL" clId="{F930F145-11E2-4940-BA51-83DD3F7DDDCE}" dt="2021-08-13T19:38:15.643" v="26" actId="20577"/>
          <ac:spMkLst>
            <pc:docMk/>
            <pc:sldMk cId="2924946486" sldId="2147307532"/>
            <ac:spMk id="154" creationId="{5BC10F2F-3AA3-403D-B736-7E2C9DF821AD}"/>
          </ac:spMkLst>
        </pc:spChg>
      </pc:sldChg>
    </pc:docChg>
  </pc:docChgLst>
  <pc:docChgLst>
    <pc:chgData name="Ajwaliya, Nishit" userId="d6171631-3d08-453d-8afd-2dc62a5026e2" providerId="ADAL" clId="{6B568F35-DA38-4EA3-9043-59A811DBF051}"/>
    <pc:docChg chg="custSel delSld modSld modSection">
      <pc:chgData name="Ajwaliya, Nishit" userId="d6171631-3d08-453d-8afd-2dc62a5026e2" providerId="ADAL" clId="{6B568F35-DA38-4EA3-9043-59A811DBF051}" dt="2021-07-23T16:03:17.841" v="20" actId="20577"/>
      <pc:docMkLst>
        <pc:docMk/>
      </pc:docMkLst>
      <pc:sldChg chg="del">
        <pc:chgData name="Ajwaliya, Nishit" userId="d6171631-3d08-453d-8afd-2dc62a5026e2" providerId="ADAL" clId="{6B568F35-DA38-4EA3-9043-59A811DBF051}" dt="2021-07-23T15:24:14.536" v="15" actId="2696"/>
        <pc:sldMkLst>
          <pc:docMk/>
          <pc:sldMk cId="1304618986" sldId="494"/>
        </pc:sldMkLst>
      </pc:sldChg>
      <pc:sldChg chg="del">
        <pc:chgData name="Ajwaliya, Nishit" userId="d6171631-3d08-453d-8afd-2dc62a5026e2" providerId="ADAL" clId="{6B568F35-DA38-4EA3-9043-59A811DBF051}" dt="2021-07-23T15:23:58.420" v="9" actId="2696"/>
        <pc:sldMkLst>
          <pc:docMk/>
          <pc:sldMk cId="2754001761" sldId="542"/>
        </pc:sldMkLst>
      </pc:sldChg>
      <pc:sldChg chg="del">
        <pc:chgData name="Ajwaliya, Nishit" userId="d6171631-3d08-453d-8afd-2dc62a5026e2" providerId="ADAL" clId="{6B568F35-DA38-4EA3-9043-59A811DBF051}" dt="2021-07-23T15:23:55.322" v="0" actId="2696"/>
        <pc:sldMkLst>
          <pc:docMk/>
          <pc:sldMk cId="136374311" sldId="3947"/>
        </pc:sldMkLst>
      </pc:sldChg>
      <pc:sldChg chg="del">
        <pc:chgData name="Ajwaliya, Nishit" userId="d6171631-3d08-453d-8afd-2dc62a5026e2" providerId="ADAL" clId="{6B568F35-DA38-4EA3-9043-59A811DBF051}" dt="2021-07-23T15:23:57.814" v="7" actId="2696"/>
        <pc:sldMkLst>
          <pc:docMk/>
          <pc:sldMk cId="2905865635" sldId="4096"/>
        </pc:sldMkLst>
      </pc:sldChg>
      <pc:sldChg chg="del">
        <pc:chgData name="Ajwaliya, Nishit" userId="d6171631-3d08-453d-8afd-2dc62a5026e2" providerId="ADAL" clId="{6B568F35-DA38-4EA3-9043-59A811DBF051}" dt="2021-07-23T15:24:13.744" v="14" actId="2696"/>
        <pc:sldMkLst>
          <pc:docMk/>
          <pc:sldMk cId="2640996553" sldId="838839870"/>
        </pc:sldMkLst>
      </pc:sldChg>
      <pc:sldChg chg="del">
        <pc:chgData name="Ajwaliya, Nishit" userId="d6171631-3d08-453d-8afd-2dc62a5026e2" providerId="ADAL" clId="{6B568F35-DA38-4EA3-9043-59A811DBF051}" dt="2021-07-23T15:23:55.510" v="1" actId="2696"/>
        <pc:sldMkLst>
          <pc:docMk/>
          <pc:sldMk cId="1760984849" sldId="838840200"/>
        </pc:sldMkLst>
      </pc:sldChg>
      <pc:sldChg chg="del">
        <pc:chgData name="Ajwaliya, Nishit" userId="d6171631-3d08-453d-8afd-2dc62a5026e2" providerId="ADAL" clId="{6B568F35-DA38-4EA3-9043-59A811DBF051}" dt="2021-07-23T15:24:08.143" v="13" actId="2696"/>
        <pc:sldMkLst>
          <pc:docMk/>
          <pc:sldMk cId="1742480203" sldId="838840204"/>
        </pc:sldMkLst>
      </pc:sldChg>
      <pc:sldChg chg="modSp">
        <pc:chgData name="Ajwaliya, Nishit" userId="d6171631-3d08-453d-8afd-2dc62a5026e2" providerId="ADAL" clId="{6B568F35-DA38-4EA3-9043-59A811DBF051}" dt="2021-07-23T16:03:17.841" v="20" actId="20577"/>
        <pc:sldMkLst>
          <pc:docMk/>
          <pc:sldMk cId="1517717599" sldId="2147307518"/>
        </pc:sldMkLst>
        <pc:spChg chg="mod">
          <ac:chgData name="Ajwaliya, Nishit" userId="d6171631-3d08-453d-8afd-2dc62a5026e2" providerId="ADAL" clId="{6B568F35-DA38-4EA3-9043-59A811DBF051}" dt="2021-07-23T16:03:17.841" v="20" actId="20577"/>
          <ac:spMkLst>
            <pc:docMk/>
            <pc:sldMk cId="1517717599" sldId="2147307518"/>
            <ac:spMk id="152" creationId="{DCA6D242-BDDC-40D6-91DE-750F5A4CC991}"/>
          </ac:spMkLst>
        </pc:spChg>
      </pc:sldChg>
      <pc:sldChg chg="del">
        <pc:chgData name="Ajwaliya, Nishit" userId="d6171631-3d08-453d-8afd-2dc62a5026e2" providerId="ADAL" clId="{6B568F35-DA38-4EA3-9043-59A811DBF051}" dt="2021-07-23T15:24:07.390" v="12" actId="2696"/>
        <pc:sldMkLst>
          <pc:docMk/>
          <pc:sldMk cId="54558304" sldId="2147307520"/>
        </pc:sldMkLst>
      </pc:sldChg>
      <pc:sldChg chg="del">
        <pc:chgData name="Ajwaliya, Nishit" userId="d6171631-3d08-453d-8afd-2dc62a5026e2" providerId="ADAL" clId="{6B568F35-DA38-4EA3-9043-59A811DBF051}" dt="2021-07-23T15:23:55.714" v="2" actId="2696"/>
        <pc:sldMkLst>
          <pc:docMk/>
          <pc:sldMk cId="4135496317" sldId="2147307523"/>
        </pc:sldMkLst>
      </pc:sldChg>
      <pc:sldChg chg="del">
        <pc:chgData name="Ajwaliya, Nishit" userId="d6171631-3d08-453d-8afd-2dc62a5026e2" providerId="ADAL" clId="{6B568F35-DA38-4EA3-9043-59A811DBF051}" dt="2021-07-23T15:23:55.900" v="3" actId="2696"/>
        <pc:sldMkLst>
          <pc:docMk/>
          <pc:sldMk cId="1208402770" sldId="2147307524"/>
        </pc:sldMkLst>
      </pc:sldChg>
      <pc:sldChg chg="del">
        <pc:chgData name="Ajwaliya, Nishit" userId="d6171631-3d08-453d-8afd-2dc62a5026e2" providerId="ADAL" clId="{6B568F35-DA38-4EA3-9043-59A811DBF051}" dt="2021-07-23T15:23:56.091" v="4" actId="2696"/>
        <pc:sldMkLst>
          <pc:docMk/>
          <pc:sldMk cId="824225204" sldId="2147307525"/>
        </pc:sldMkLst>
      </pc:sldChg>
      <pc:sldChg chg="del">
        <pc:chgData name="Ajwaliya, Nishit" userId="d6171631-3d08-453d-8afd-2dc62a5026e2" providerId="ADAL" clId="{6B568F35-DA38-4EA3-9043-59A811DBF051}" dt="2021-07-23T15:23:56.754" v="5" actId="2696"/>
        <pc:sldMkLst>
          <pc:docMk/>
          <pc:sldMk cId="127553332" sldId="2147307526"/>
        </pc:sldMkLst>
      </pc:sldChg>
      <pc:sldChg chg="del">
        <pc:chgData name="Ajwaliya, Nishit" userId="d6171631-3d08-453d-8afd-2dc62a5026e2" providerId="ADAL" clId="{6B568F35-DA38-4EA3-9043-59A811DBF051}" dt="2021-07-23T15:23:59.337" v="10" actId="2696"/>
        <pc:sldMkLst>
          <pc:docMk/>
          <pc:sldMk cId="857160364" sldId="2147307529"/>
        </pc:sldMkLst>
      </pc:sldChg>
      <pc:sldChg chg="del">
        <pc:chgData name="Ajwaliya, Nishit" userId="d6171631-3d08-453d-8afd-2dc62a5026e2" providerId="ADAL" clId="{6B568F35-DA38-4EA3-9043-59A811DBF051}" dt="2021-07-23T15:23:57.181" v="6" actId="2696"/>
        <pc:sldMkLst>
          <pc:docMk/>
          <pc:sldMk cId="1154723828" sldId="2147307530"/>
        </pc:sldMkLst>
      </pc:sldChg>
      <pc:sldChg chg="addSp delSp">
        <pc:chgData name="Ajwaliya, Nishit" userId="d6171631-3d08-453d-8afd-2dc62a5026e2" providerId="ADAL" clId="{6B568F35-DA38-4EA3-9043-59A811DBF051}" dt="2021-07-23T15:34:03.615" v="17"/>
        <pc:sldMkLst>
          <pc:docMk/>
          <pc:sldMk cId="1538689941" sldId="2147307531"/>
        </pc:sldMkLst>
        <pc:picChg chg="del">
          <ac:chgData name="Ajwaliya, Nishit" userId="d6171631-3d08-453d-8afd-2dc62a5026e2" providerId="ADAL" clId="{6B568F35-DA38-4EA3-9043-59A811DBF051}" dt="2021-07-23T15:34:03.152" v="16" actId="478"/>
          <ac:picMkLst>
            <pc:docMk/>
            <pc:sldMk cId="1538689941" sldId="2147307531"/>
            <ac:picMk id="3" creationId="{16B1AD02-68B2-4AAD-B084-422662F194F4}"/>
          </ac:picMkLst>
        </pc:picChg>
        <pc:picChg chg="add">
          <ac:chgData name="Ajwaliya, Nishit" userId="d6171631-3d08-453d-8afd-2dc62a5026e2" providerId="ADAL" clId="{6B568F35-DA38-4EA3-9043-59A811DBF051}" dt="2021-07-23T15:34:03.615" v="17"/>
          <ac:picMkLst>
            <pc:docMk/>
            <pc:sldMk cId="1538689941" sldId="2147307531"/>
            <ac:picMk id="4" creationId="{0244052E-3E09-4981-9EC3-CC1CA0A7AA74}"/>
          </ac:picMkLst>
        </pc:picChg>
      </pc:sldChg>
      <pc:sldMasterChg chg="delSldLayout">
        <pc:chgData name="Ajwaliya, Nishit" userId="d6171631-3d08-453d-8afd-2dc62a5026e2" providerId="ADAL" clId="{6B568F35-DA38-4EA3-9043-59A811DBF051}" dt="2021-07-23T15:23:57.815" v="8" actId="2696"/>
        <pc:sldMasterMkLst>
          <pc:docMk/>
          <pc:sldMasterMk cId="1030417972" sldId="2147483660"/>
        </pc:sldMasterMkLst>
        <pc:sldLayoutChg chg="del">
          <pc:chgData name="Ajwaliya, Nishit" userId="d6171631-3d08-453d-8afd-2dc62a5026e2" providerId="ADAL" clId="{6B568F35-DA38-4EA3-9043-59A811DBF051}" dt="2021-07-23T15:23:57.815" v="8" actId="2696"/>
          <pc:sldLayoutMkLst>
            <pc:docMk/>
            <pc:sldMasterMk cId="1030417972" sldId="2147483660"/>
            <pc:sldLayoutMk cId="806496555" sldId="2147483746"/>
          </pc:sldLayoutMkLst>
        </pc:sldLayoutChg>
      </pc:sldMasterChg>
      <pc:sldMasterChg chg="delSldLayout">
        <pc:chgData name="Ajwaliya, Nishit" userId="d6171631-3d08-453d-8afd-2dc62a5026e2" providerId="ADAL" clId="{6B568F35-DA38-4EA3-9043-59A811DBF051}" dt="2021-07-23T15:23:59.338" v="11" actId="2696"/>
        <pc:sldMasterMkLst>
          <pc:docMk/>
          <pc:sldMasterMk cId="2000181141" sldId="2147483747"/>
        </pc:sldMasterMkLst>
        <pc:sldLayoutChg chg="del">
          <pc:chgData name="Ajwaliya, Nishit" userId="d6171631-3d08-453d-8afd-2dc62a5026e2" providerId="ADAL" clId="{6B568F35-DA38-4EA3-9043-59A811DBF051}" dt="2021-07-23T15:23:59.338" v="11" actId="2696"/>
          <pc:sldLayoutMkLst>
            <pc:docMk/>
            <pc:sldMasterMk cId="2000181141" sldId="2147483747"/>
            <pc:sldLayoutMk cId="15660306" sldId="2147483761"/>
          </pc:sldLayoutMkLst>
        </pc:sldLayoutChg>
      </pc:sldMasterChg>
    </pc:docChg>
  </pc:docChgLst>
  <pc:docChgLst>
    <pc:chgData name="Ajwaliya, Nishit" userId="d6171631-3d08-453d-8afd-2dc62a5026e2" providerId="ADAL" clId="{E591132F-F19E-4CF7-B8B0-FB2A045669B6}"/>
    <pc:docChg chg="undo custSel modSld">
      <pc:chgData name="Ajwaliya, Nishit" userId="d6171631-3d08-453d-8afd-2dc62a5026e2" providerId="ADAL" clId="{E591132F-F19E-4CF7-B8B0-FB2A045669B6}" dt="2021-11-01T16:32:19.297" v="44" actId="255"/>
      <pc:docMkLst>
        <pc:docMk/>
      </pc:docMkLst>
      <pc:sldChg chg="addSp delSp mod">
        <pc:chgData name="Ajwaliya, Nishit" userId="d6171631-3d08-453d-8afd-2dc62a5026e2" providerId="ADAL" clId="{E591132F-F19E-4CF7-B8B0-FB2A045669B6}" dt="2021-11-01T16:31:15.307" v="3" actId="22"/>
        <pc:sldMkLst>
          <pc:docMk/>
          <pc:sldMk cId="3198995261" sldId="838840203"/>
        </pc:sldMkLst>
        <pc:picChg chg="del">
          <ac:chgData name="Ajwaliya, Nishit" userId="d6171631-3d08-453d-8afd-2dc62a5026e2" providerId="ADAL" clId="{E591132F-F19E-4CF7-B8B0-FB2A045669B6}" dt="2021-11-01T16:29:51.783" v="0" actId="478"/>
          <ac:picMkLst>
            <pc:docMk/>
            <pc:sldMk cId="3198995261" sldId="838840203"/>
            <ac:picMk id="4" creationId="{0F05942D-253D-4745-81B9-51B46783EDAC}"/>
          </ac:picMkLst>
        </pc:picChg>
        <pc:picChg chg="add del">
          <ac:chgData name="Ajwaliya, Nishit" userId="d6171631-3d08-453d-8afd-2dc62a5026e2" providerId="ADAL" clId="{E591132F-F19E-4CF7-B8B0-FB2A045669B6}" dt="2021-11-01T16:31:09.416" v="2" actId="22"/>
          <ac:picMkLst>
            <pc:docMk/>
            <pc:sldMk cId="3198995261" sldId="838840203"/>
            <ac:picMk id="5" creationId="{E5E82992-9E43-46E8-BD68-53E83D0051F7}"/>
          </ac:picMkLst>
        </pc:picChg>
        <pc:picChg chg="add">
          <ac:chgData name="Ajwaliya, Nishit" userId="d6171631-3d08-453d-8afd-2dc62a5026e2" providerId="ADAL" clId="{E591132F-F19E-4CF7-B8B0-FB2A045669B6}" dt="2021-11-01T16:31:15.307" v="3" actId="22"/>
          <ac:picMkLst>
            <pc:docMk/>
            <pc:sldMk cId="3198995261" sldId="838840203"/>
            <ac:picMk id="7" creationId="{2FABB2E2-46B7-40C0-82C1-108DC61D2E5F}"/>
          </ac:picMkLst>
        </pc:picChg>
      </pc:sldChg>
      <pc:sldChg chg="addSp delSp mod">
        <pc:chgData name="Ajwaliya, Nishit" userId="d6171631-3d08-453d-8afd-2dc62a5026e2" providerId="ADAL" clId="{E591132F-F19E-4CF7-B8B0-FB2A045669B6}" dt="2021-11-01T16:31:41.783" v="5" actId="22"/>
        <pc:sldMkLst>
          <pc:docMk/>
          <pc:sldMk cId="1538689941" sldId="2147307531"/>
        </pc:sldMkLst>
        <pc:picChg chg="del">
          <ac:chgData name="Ajwaliya, Nishit" userId="d6171631-3d08-453d-8afd-2dc62a5026e2" providerId="ADAL" clId="{E591132F-F19E-4CF7-B8B0-FB2A045669B6}" dt="2021-11-01T16:31:19.862" v="4" actId="478"/>
          <ac:picMkLst>
            <pc:docMk/>
            <pc:sldMk cId="1538689941" sldId="2147307531"/>
            <ac:picMk id="4" creationId="{1A42F0ED-20B7-4220-8360-93C648E0CBBE}"/>
          </ac:picMkLst>
        </pc:picChg>
        <pc:picChg chg="add">
          <ac:chgData name="Ajwaliya, Nishit" userId="d6171631-3d08-453d-8afd-2dc62a5026e2" providerId="ADAL" clId="{E591132F-F19E-4CF7-B8B0-FB2A045669B6}" dt="2021-11-01T16:31:41.783" v="5" actId="22"/>
          <ac:picMkLst>
            <pc:docMk/>
            <pc:sldMk cId="1538689941" sldId="2147307531"/>
            <ac:picMk id="5" creationId="{065D7CD8-175D-4C4B-B9DC-4DAF2C7783C8}"/>
          </ac:picMkLst>
        </pc:picChg>
      </pc:sldChg>
      <pc:sldChg chg="modSp mod">
        <pc:chgData name="Ajwaliya, Nishit" userId="d6171631-3d08-453d-8afd-2dc62a5026e2" providerId="ADAL" clId="{E591132F-F19E-4CF7-B8B0-FB2A045669B6}" dt="2021-11-01T16:32:19.297" v="44" actId="255"/>
        <pc:sldMkLst>
          <pc:docMk/>
          <pc:sldMk cId="2924946486" sldId="2147307532"/>
        </pc:sldMkLst>
        <pc:spChg chg="mod">
          <ac:chgData name="Ajwaliya, Nishit" userId="d6171631-3d08-453d-8afd-2dc62a5026e2" providerId="ADAL" clId="{E591132F-F19E-4CF7-B8B0-FB2A045669B6}" dt="2021-11-01T16:32:19.297" v="44" actId="255"/>
          <ac:spMkLst>
            <pc:docMk/>
            <pc:sldMk cId="2924946486" sldId="2147307532"/>
            <ac:spMk id="102" creationId="{B9C48391-D516-4B99-9594-2AABB5CA04A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5A27A-6EA2-4247-8810-D750F1BBF5D8}" type="datetimeFigureOut">
              <a:rPr lang="en-GB" smtClean="0"/>
              <a:t>01/11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268BE9-0187-4CAA-AA93-9EC207E638B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00557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68BE9-0187-4CAA-AA93-9EC207E638B3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65790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68BE9-0187-4CAA-AA93-9EC207E638B3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64069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pPr marL="342900" indent="-342900">
              <a:buAutoNum type="arabicPeriod"/>
            </a:pPr>
            <a:r>
              <a:rPr lang="en-US"/>
              <a:t>Bottom-up view of enabling Data Capabilities in support of prioritized business capabilities</a:t>
            </a:r>
          </a:p>
          <a:p>
            <a:pPr marL="609539" lvl="1" indent="0">
              <a:buNone/>
            </a:pPr>
            <a:r>
              <a:rPr lang="en-US"/>
              <a:t>- Iterative approach to building out capabilities incrementally though data enablement – Clean data available and  under management - Master Data managed under MDM and both Master and Transaction Data Available within the Data Hub </a:t>
            </a:r>
          </a:p>
          <a:p>
            <a:pPr marL="342900" indent="-342900">
              <a:buAutoNum type="arabicPeriod"/>
            </a:pPr>
            <a:r>
              <a:rPr lang="en-US"/>
              <a:t>Business Capabilities sequencing and timelines are still subject to Top-Down Analysis under the Program Governance &amp; Alignment and Technology Solutioning Towers (taking place over the next 3-4 months, but subject to funding)</a:t>
            </a:r>
          </a:p>
          <a:p>
            <a:pPr marL="0" indent="0">
              <a:buNone/>
            </a:pPr>
            <a:r>
              <a:rPr lang="en-US"/>
              <a:t>                - Programs need to re-align priorities and release plan, cross-program gaps and dependencies need to be revisited and programs must be funded and resourced accordingly.  This is especially impacted by program gaps in CRM and Automated  </a:t>
            </a:r>
          </a:p>
          <a:p>
            <a:pPr marL="0" indent="0">
              <a:buNone/>
            </a:pPr>
            <a:r>
              <a:rPr lang="en-US"/>
              <a:t>                  Marketing capabilities </a:t>
            </a:r>
          </a:p>
          <a:p>
            <a:pPr algn="l">
              <a:spcAft>
                <a:spcPts val="600"/>
              </a:spcAft>
              <a:buClr>
                <a:schemeClr val="tx1"/>
              </a:buClr>
            </a:pPr>
            <a:r>
              <a:rPr lang="en-US"/>
              <a:t>                -  Note: </a:t>
            </a:r>
            <a:r>
              <a:rPr lang="en-US" sz="1600" b="0">
                <a:solidFill>
                  <a:schemeClr val="tx1"/>
                </a:solidFill>
              </a:rPr>
              <a:t>CRM and Marketing Automation Completes in Dec 2022</a:t>
            </a:r>
            <a:endParaRPr lang="en-US"/>
          </a:p>
          <a:p>
            <a:pPr marL="342900" indent="-342900">
              <a:buAutoNum type="arabicPeriod" startAt="3"/>
            </a:pPr>
            <a:r>
              <a:rPr lang="en-US"/>
              <a:t>Timelines for many of the required business capabilities extend beyond May-2022 which are being driving by process and tech changes</a:t>
            </a:r>
          </a:p>
          <a:p>
            <a:pPr marL="342900" indent="-342900">
              <a:buAutoNum type="arabicPeriod" startAt="3"/>
            </a:pPr>
            <a:r>
              <a:rPr lang="en-US"/>
              <a:t>Some Capabilities that the Blueprint suggests will be dependent on a step change in platform can begin to be enabled by a Step change in data (e.g. Billing Insights).  Other such as (New Service Connect) will obviously be clearly be dependent on AMI service</a:t>
            </a:r>
          </a:p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779895-3E67-4CB8-BE0C-23F3FD5FF7F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04429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1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10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10.emf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10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10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0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9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9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528521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471991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1485672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5" y="1424518"/>
            <a:ext cx="7392828" cy="2502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821821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8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884481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7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47127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67595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427036460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3" y="141183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3" y="3467420"/>
            <a:ext cx="5378452" cy="69249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/>
          <a:srcRect l="7480" t="27066" r="32612"/>
          <a:stretch/>
        </p:blipFill>
        <p:spPr>
          <a:xfrm rot="16200000" flipV="1">
            <a:off x="6262073" y="928079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0456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972A00B0-5109-4795-B6DD-671C71DA144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5647123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8" y="3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endParaRPr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endParaRPr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4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1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0337565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20841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2091BDE-8D32-45BA-8B05-DD4216B1638A}"/>
              </a:ext>
            </a:extLst>
          </p:cNvPr>
          <p:cNvGrpSpPr/>
          <p:nvPr userDrawn="1"/>
        </p:nvGrpSpPr>
        <p:grpSpPr bwMode="black">
          <a:xfrm>
            <a:off x="2806708" y="2909035"/>
            <a:ext cx="6578600" cy="1039932"/>
            <a:chOff x="2910342" y="325575"/>
            <a:chExt cx="5928968" cy="124965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A57378A6-C5A9-4A2C-B31B-EA15D5A0FE13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E02F4F1-BC64-4B71-9E4E-AFA3BA5D9284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17A2B2C-D6F2-4479-9425-86B568230B87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011773E-597C-481D-B648-114EC7522986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28185BD-C34B-4E50-90A0-42A4AABFD6F8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469029C-5A60-4376-BC7D-F118160FFE0E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08901CA-EBBA-48C9-A455-39FED58F1C74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3D44C5A-5300-472D-9CB9-D76132F9DEE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3A8FA55-DAA9-461E-9FED-A9A1B659EA7A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4610353-9575-4653-839D-B8325BE73337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21885C5-7DDB-4A16-922D-087FA03AE3A9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0B5B5E7-4134-45F5-B9B2-F95F687266C2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831FF1B-C914-46E6-BBAB-45FCEF2DDEC6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4338027-A927-4C3D-AF95-4646D340421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04EA4F8-DD37-473D-9F06-72E6DF74F66B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6486B9F-0ACD-42EC-8AD3-D7C9EE2BF62A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A96A062-93F0-4915-9B7C-6CB09526FC4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F5C7FBC-AB52-40CB-921A-5ACB3377FDD1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81DC520-5E27-419C-8EC0-F520CA9211F2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834197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BC8C29B5-0459-44E2-893D-68F8D6DE684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7200" b="0" i="0" baseline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pic>
        <p:nvPicPr>
          <p:cNvPr id="10" name="Picture 2" descr="A picture containing sky, outdoor, water sport, swimming&#10;&#10;Description automatically generated">
            <a:extLst>
              <a:ext uri="{FF2B5EF4-FFF2-40B4-BE49-F238E27FC236}">
                <a16:creationId xmlns:a16="http://schemas.microsoft.com/office/drawing/2014/main" id="{68EADA17-8BD7-4AD0-94C2-B3D8B34FFD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836" y="-1"/>
            <a:ext cx="12203836" cy="6858001"/>
          </a:xfrm>
          <a:prstGeom prst="rect">
            <a:avLst/>
          </a:prstGeom>
        </p:spPr>
      </p:pic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81001" y="5216095"/>
            <a:ext cx="3630930" cy="1041195"/>
          </a:xfrm>
        </p:spPr>
        <p:txBody>
          <a:bodyPr anchor="b"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2000" b="0" i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LINE</a:t>
            </a:r>
            <a:br>
              <a:rPr lang="en-US"/>
            </a:br>
            <a:r>
              <a:rPr lang="en-US"/>
              <a:t>SECOND LINE</a:t>
            </a:r>
          </a:p>
        </p:txBody>
      </p: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381001" y="1798322"/>
            <a:ext cx="5751674" cy="3261358"/>
          </a:xfrm>
        </p:spPr>
        <p:txBody>
          <a:bodyPr lIns="0" tIns="0" rIns="0" bIns="0" anchor="ctr"/>
          <a:lstStyle>
            <a:lvl1pPr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 sz="7200" spc="-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his is a</a:t>
            </a:r>
            <a:br>
              <a:rPr lang="en-US"/>
            </a:br>
            <a:r>
              <a:rPr lang="en-US"/>
              <a:t>Headline</a:t>
            </a:r>
            <a:br>
              <a:rPr lang="en-US"/>
            </a:br>
            <a:r>
              <a:rPr lang="en-US"/>
              <a:t>This is a Subhead</a:t>
            </a:r>
            <a:endParaRPr lang="en-AU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B5B98C87-D6DD-4595-B803-BF96BBC33CC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813155" y="381000"/>
            <a:ext cx="2006425" cy="528825"/>
            <a:chOff x="217" y="3941"/>
            <a:chExt cx="645" cy="170"/>
          </a:xfrm>
          <a:solidFill>
            <a:schemeClr val="bg1"/>
          </a:solidFill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6E3F49AE-1B53-455E-8566-60AA2FC40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3" y="3941"/>
              <a:ext cx="63" cy="67"/>
            </a:xfrm>
            <a:custGeom>
              <a:avLst/>
              <a:gdLst>
                <a:gd name="T0" fmla="*/ 0 w 382"/>
                <a:gd name="T1" fmla="*/ 0 h 405"/>
                <a:gd name="T2" fmla="*/ 0 w 382"/>
                <a:gd name="T3" fmla="*/ 0 h 405"/>
                <a:gd name="T4" fmla="*/ 382 w 382"/>
                <a:gd name="T5" fmla="*/ 155 h 405"/>
                <a:gd name="T6" fmla="*/ 382 w 382"/>
                <a:gd name="T7" fmla="*/ 251 h 405"/>
                <a:gd name="T8" fmla="*/ 0 w 382"/>
                <a:gd name="T9" fmla="*/ 405 h 405"/>
                <a:gd name="T10" fmla="*/ 0 w 382"/>
                <a:gd name="T11" fmla="*/ 286 h 405"/>
                <a:gd name="T12" fmla="*/ 223 w 382"/>
                <a:gd name="T13" fmla="*/ 203 h 405"/>
                <a:gd name="T14" fmla="*/ 0 w 382"/>
                <a:gd name="T15" fmla="*/ 116 h 405"/>
                <a:gd name="T16" fmla="*/ 0 w 382"/>
                <a:gd name="T17" fmla="*/ 0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2" h="405">
                  <a:moveTo>
                    <a:pt x="0" y="0"/>
                  </a:moveTo>
                  <a:lnTo>
                    <a:pt x="0" y="0"/>
                  </a:lnTo>
                  <a:lnTo>
                    <a:pt x="382" y="155"/>
                  </a:lnTo>
                  <a:lnTo>
                    <a:pt x="382" y="251"/>
                  </a:lnTo>
                  <a:lnTo>
                    <a:pt x="0" y="405"/>
                  </a:lnTo>
                  <a:lnTo>
                    <a:pt x="0" y="286"/>
                  </a:lnTo>
                  <a:lnTo>
                    <a:pt x="223" y="203"/>
                  </a:lnTo>
                  <a:lnTo>
                    <a:pt x="0" y="11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AB6B5F75-01DA-4901-AD9D-7C6B0F3B9C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7" y="4012"/>
              <a:ext cx="645" cy="99"/>
            </a:xfrm>
            <a:custGeom>
              <a:avLst/>
              <a:gdLst>
                <a:gd name="T0" fmla="*/ 125 w 3869"/>
                <a:gd name="T1" fmla="*/ 467 h 592"/>
                <a:gd name="T2" fmla="*/ 247 w 3869"/>
                <a:gd name="T3" fmla="*/ 481 h 592"/>
                <a:gd name="T4" fmla="*/ 3618 w 3869"/>
                <a:gd name="T5" fmla="*/ 227 h 592"/>
                <a:gd name="T6" fmla="*/ 3718 w 3869"/>
                <a:gd name="T7" fmla="*/ 230 h 592"/>
                <a:gd name="T8" fmla="*/ 1532 w 3869"/>
                <a:gd name="T9" fmla="*/ 257 h 592"/>
                <a:gd name="T10" fmla="*/ 1622 w 3869"/>
                <a:gd name="T11" fmla="*/ 215 h 592"/>
                <a:gd name="T12" fmla="*/ 2841 w 3869"/>
                <a:gd name="T13" fmla="*/ 492 h 592"/>
                <a:gd name="T14" fmla="*/ 2940 w 3869"/>
                <a:gd name="T15" fmla="*/ 135 h 592"/>
                <a:gd name="T16" fmla="*/ 2861 w 3869"/>
                <a:gd name="T17" fmla="*/ 584 h 592"/>
                <a:gd name="T18" fmla="*/ 2679 w 3869"/>
                <a:gd name="T19" fmla="*/ 500 h 592"/>
                <a:gd name="T20" fmla="*/ 3314 w 3869"/>
                <a:gd name="T21" fmla="*/ 275 h 592"/>
                <a:gd name="T22" fmla="*/ 3279 w 3869"/>
                <a:gd name="T23" fmla="*/ 217 h 592"/>
                <a:gd name="T24" fmla="*/ 3723 w 3869"/>
                <a:gd name="T25" fmla="*/ 132 h 592"/>
                <a:gd name="T26" fmla="*/ 3869 w 3869"/>
                <a:gd name="T27" fmla="*/ 336 h 592"/>
                <a:gd name="T28" fmla="*/ 3652 w 3869"/>
                <a:gd name="T29" fmla="*/ 500 h 592"/>
                <a:gd name="T30" fmla="*/ 3862 w 3869"/>
                <a:gd name="T31" fmla="*/ 470 h 592"/>
                <a:gd name="T32" fmla="*/ 3635 w 3869"/>
                <a:gd name="T33" fmla="*/ 590 h 592"/>
                <a:gd name="T34" fmla="*/ 3454 w 3869"/>
                <a:gd name="T35" fmla="*/ 404 h 592"/>
                <a:gd name="T36" fmla="*/ 3548 w 3869"/>
                <a:gd name="T37" fmla="*/ 158 h 592"/>
                <a:gd name="T38" fmla="*/ 2230 w 3869"/>
                <a:gd name="T39" fmla="*/ 156 h 592"/>
                <a:gd name="T40" fmla="*/ 2150 w 3869"/>
                <a:gd name="T41" fmla="*/ 278 h 592"/>
                <a:gd name="T42" fmla="*/ 2024 w 3869"/>
                <a:gd name="T43" fmla="*/ 253 h 592"/>
                <a:gd name="T44" fmla="*/ 2017 w 3869"/>
                <a:gd name="T45" fmla="*/ 185 h 592"/>
                <a:gd name="T46" fmla="*/ 1659 w 3869"/>
                <a:gd name="T47" fmla="*/ 132 h 592"/>
                <a:gd name="T48" fmla="*/ 1805 w 3869"/>
                <a:gd name="T49" fmla="*/ 336 h 592"/>
                <a:gd name="T50" fmla="*/ 1588 w 3869"/>
                <a:gd name="T51" fmla="*/ 500 h 592"/>
                <a:gd name="T52" fmla="*/ 1798 w 3869"/>
                <a:gd name="T53" fmla="*/ 470 h 592"/>
                <a:gd name="T54" fmla="*/ 1572 w 3869"/>
                <a:gd name="T55" fmla="*/ 590 h 592"/>
                <a:gd name="T56" fmla="*/ 1390 w 3869"/>
                <a:gd name="T57" fmla="*/ 404 h 592"/>
                <a:gd name="T58" fmla="*/ 1485 w 3869"/>
                <a:gd name="T59" fmla="*/ 158 h 592"/>
                <a:gd name="T60" fmla="*/ 1248 w 3869"/>
                <a:gd name="T61" fmla="*/ 152 h 592"/>
                <a:gd name="T62" fmla="*/ 1202 w 3869"/>
                <a:gd name="T63" fmla="*/ 256 h 592"/>
                <a:gd name="T64" fmla="*/ 1066 w 3869"/>
                <a:gd name="T65" fmla="*/ 272 h 592"/>
                <a:gd name="T66" fmla="*/ 1087 w 3869"/>
                <a:gd name="T67" fmla="*/ 480 h 592"/>
                <a:gd name="T68" fmla="*/ 1223 w 3869"/>
                <a:gd name="T69" fmla="*/ 417 h 592"/>
                <a:gd name="T70" fmla="*/ 1176 w 3869"/>
                <a:gd name="T71" fmla="*/ 588 h 592"/>
                <a:gd name="T72" fmla="*/ 944 w 3869"/>
                <a:gd name="T73" fmla="*/ 470 h 592"/>
                <a:gd name="T74" fmla="*/ 977 w 3869"/>
                <a:gd name="T75" fmla="*/ 196 h 592"/>
                <a:gd name="T76" fmla="*/ 733 w 3869"/>
                <a:gd name="T77" fmla="*/ 132 h 592"/>
                <a:gd name="T78" fmla="*/ 751 w 3869"/>
                <a:gd name="T79" fmla="*/ 295 h 592"/>
                <a:gd name="T80" fmla="*/ 626 w 3869"/>
                <a:gd name="T81" fmla="*/ 240 h 592"/>
                <a:gd name="T82" fmla="*/ 601 w 3869"/>
                <a:gd name="T83" fmla="*/ 448 h 592"/>
                <a:gd name="T84" fmla="*/ 745 w 3869"/>
                <a:gd name="T85" fmla="*/ 460 h 592"/>
                <a:gd name="T86" fmla="*/ 776 w 3869"/>
                <a:gd name="T87" fmla="*/ 570 h 592"/>
                <a:gd name="T88" fmla="*/ 510 w 3869"/>
                <a:gd name="T89" fmla="*/ 524 h 592"/>
                <a:gd name="T90" fmla="*/ 480 w 3869"/>
                <a:gd name="T91" fmla="*/ 250 h 592"/>
                <a:gd name="T92" fmla="*/ 206 w 3869"/>
                <a:gd name="T93" fmla="*/ 126 h 592"/>
                <a:gd name="T94" fmla="*/ 389 w 3869"/>
                <a:gd name="T95" fmla="*/ 252 h 592"/>
                <a:gd name="T96" fmla="*/ 176 w 3869"/>
                <a:gd name="T97" fmla="*/ 590 h 592"/>
                <a:gd name="T98" fmla="*/ 2 w 3869"/>
                <a:gd name="T99" fmla="*/ 488 h 592"/>
                <a:gd name="T100" fmla="*/ 97 w 3869"/>
                <a:gd name="T101" fmla="*/ 325 h 592"/>
                <a:gd name="T102" fmla="*/ 251 w 3869"/>
                <a:gd name="T103" fmla="*/ 235 h 592"/>
                <a:gd name="T104" fmla="*/ 133 w 3869"/>
                <a:gd name="T105" fmla="*/ 273 h 592"/>
                <a:gd name="T106" fmla="*/ 172 w 3869"/>
                <a:gd name="T107" fmla="*/ 127 h 592"/>
                <a:gd name="T108" fmla="*/ 2517 w 3869"/>
                <a:gd name="T109" fmla="*/ 472 h 592"/>
                <a:gd name="T110" fmla="*/ 2555 w 3869"/>
                <a:gd name="T111" fmla="*/ 587 h 592"/>
                <a:gd name="T112" fmla="*/ 2383 w 3869"/>
                <a:gd name="T113" fmla="*/ 453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69" h="592">
                  <a:moveTo>
                    <a:pt x="217" y="390"/>
                  </a:moveTo>
                  <a:lnTo>
                    <a:pt x="189" y="393"/>
                  </a:lnTo>
                  <a:lnTo>
                    <a:pt x="165" y="397"/>
                  </a:lnTo>
                  <a:lnTo>
                    <a:pt x="147" y="404"/>
                  </a:lnTo>
                  <a:lnTo>
                    <a:pt x="134" y="415"/>
                  </a:lnTo>
                  <a:lnTo>
                    <a:pt x="126" y="430"/>
                  </a:lnTo>
                  <a:lnTo>
                    <a:pt x="124" y="448"/>
                  </a:lnTo>
                  <a:lnTo>
                    <a:pt x="124" y="453"/>
                  </a:lnTo>
                  <a:lnTo>
                    <a:pt x="125" y="467"/>
                  </a:lnTo>
                  <a:lnTo>
                    <a:pt x="130" y="480"/>
                  </a:lnTo>
                  <a:lnTo>
                    <a:pt x="138" y="489"/>
                  </a:lnTo>
                  <a:lnTo>
                    <a:pt x="150" y="498"/>
                  </a:lnTo>
                  <a:lnTo>
                    <a:pt x="165" y="502"/>
                  </a:lnTo>
                  <a:lnTo>
                    <a:pt x="184" y="505"/>
                  </a:lnTo>
                  <a:lnTo>
                    <a:pt x="203" y="504"/>
                  </a:lnTo>
                  <a:lnTo>
                    <a:pt x="219" y="499"/>
                  </a:lnTo>
                  <a:lnTo>
                    <a:pt x="234" y="492"/>
                  </a:lnTo>
                  <a:lnTo>
                    <a:pt x="247" y="481"/>
                  </a:lnTo>
                  <a:lnTo>
                    <a:pt x="258" y="468"/>
                  </a:lnTo>
                  <a:lnTo>
                    <a:pt x="264" y="453"/>
                  </a:lnTo>
                  <a:lnTo>
                    <a:pt x="266" y="434"/>
                  </a:lnTo>
                  <a:lnTo>
                    <a:pt x="266" y="390"/>
                  </a:lnTo>
                  <a:lnTo>
                    <a:pt x="217" y="390"/>
                  </a:lnTo>
                  <a:close/>
                  <a:moveTo>
                    <a:pt x="3665" y="213"/>
                  </a:moveTo>
                  <a:lnTo>
                    <a:pt x="3649" y="215"/>
                  </a:lnTo>
                  <a:lnTo>
                    <a:pt x="3634" y="219"/>
                  </a:lnTo>
                  <a:lnTo>
                    <a:pt x="3618" y="227"/>
                  </a:lnTo>
                  <a:lnTo>
                    <a:pt x="3605" y="239"/>
                  </a:lnTo>
                  <a:lnTo>
                    <a:pt x="3595" y="257"/>
                  </a:lnTo>
                  <a:lnTo>
                    <a:pt x="3586" y="279"/>
                  </a:lnTo>
                  <a:lnTo>
                    <a:pt x="3580" y="307"/>
                  </a:lnTo>
                  <a:lnTo>
                    <a:pt x="3748" y="307"/>
                  </a:lnTo>
                  <a:lnTo>
                    <a:pt x="3744" y="282"/>
                  </a:lnTo>
                  <a:lnTo>
                    <a:pt x="3738" y="259"/>
                  </a:lnTo>
                  <a:lnTo>
                    <a:pt x="3730" y="243"/>
                  </a:lnTo>
                  <a:lnTo>
                    <a:pt x="3718" y="230"/>
                  </a:lnTo>
                  <a:lnTo>
                    <a:pt x="3703" y="220"/>
                  </a:lnTo>
                  <a:lnTo>
                    <a:pt x="3685" y="215"/>
                  </a:lnTo>
                  <a:lnTo>
                    <a:pt x="3665" y="213"/>
                  </a:lnTo>
                  <a:close/>
                  <a:moveTo>
                    <a:pt x="1602" y="213"/>
                  </a:moveTo>
                  <a:lnTo>
                    <a:pt x="1586" y="215"/>
                  </a:lnTo>
                  <a:lnTo>
                    <a:pt x="1569" y="219"/>
                  </a:lnTo>
                  <a:lnTo>
                    <a:pt x="1555" y="227"/>
                  </a:lnTo>
                  <a:lnTo>
                    <a:pt x="1542" y="239"/>
                  </a:lnTo>
                  <a:lnTo>
                    <a:pt x="1532" y="257"/>
                  </a:lnTo>
                  <a:lnTo>
                    <a:pt x="1522" y="279"/>
                  </a:lnTo>
                  <a:lnTo>
                    <a:pt x="1516" y="307"/>
                  </a:lnTo>
                  <a:lnTo>
                    <a:pt x="1684" y="307"/>
                  </a:lnTo>
                  <a:lnTo>
                    <a:pt x="1681" y="282"/>
                  </a:lnTo>
                  <a:lnTo>
                    <a:pt x="1675" y="259"/>
                  </a:lnTo>
                  <a:lnTo>
                    <a:pt x="1666" y="243"/>
                  </a:lnTo>
                  <a:lnTo>
                    <a:pt x="1654" y="230"/>
                  </a:lnTo>
                  <a:lnTo>
                    <a:pt x="1639" y="220"/>
                  </a:lnTo>
                  <a:lnTo>
                    <a:pt x="1622" y="215"/>
                  </a:lnTo>
                  <a:lnTo>
                    <a:pt x="1602" y="213"/>
                  </a:lnTo>
                  <a:close/>
                  <a:moveTo>
                    <a:pt x="2671" y="135"/>
                  </a:moveTo>
                  <a:lnTo>
                    <a:pt x="2796" y="135"/>
                  </a:lnTo>
                  <a:lnTo>
                    <a:pt x="2796" y="419"/>
                  </a:lnTo>
                  <a:lnTo>
                    <a:pt x="2798" y="442"/>
                  </a:lnTo>
                  <a:lnTo>
                    <a:pt x="2803" y="461"/>
                  </a:lnTo>
                  <a:lnTo>
                    <a:pt x="2811" y="476"/>
                  </a:lnTo>
                  <a:lnTo>
                    <a:pt x="2824" y="486"/>
                  </a:lnTo>
                  <a:lnTo>
                    <a:pt x="2841" y="492"/>
                  </a:lnTo>
                  <a:lnTo>
                    <a:pt x="2861" y="494"/>
                  </a:lnTo>
                  <a:lnTo>
                    <a:pt x="2878" y="493"/>
                  </a:lnTo>
                  <a:lnTo>
                    <a:pt x="2895" y="487"/>
                  </a:lnTo>
                  <a:lnTo>
                    <a:pt x="2910" y="479"/>
                  </a:lnTo>
                  <a:lnTo>
                    <a:pt x="2922" y="467"/>
                  </a:lnTo>
                  <a:lnTo>
                    <a:pt x="2931" y="452"/>
                  </a:lnTo>
                  <a:lnTo>
                    <a:pt x="2937" y="434"/>
                  </a:lnTo>
                  <a:lnTo>
                    <a:pt x="2940" y="412"/>
                  </a:lnTo>
                  <a:lnTo>
                    <a:pt x="2940" y="135"/>
                  </a:lnTo>
                  <a:lnTo>
                    <a:pt x="3064" y="135"/>
                  </a:lnTo>
                  <a:lnTo>
                    <a:pt x="3064" y="583"/>
                  </a:lnTo>
                  <a:lnTo>
                    <a:pt x="2940" y="583"/>
                  </a:lnTo>
                  <a:lnTo>
                    <a:pt x="2940" y="517"/>
                  </a:lnTo>
                  <a:lnTo>
                    <a:pt x="2929" y="534"/>
                  </a:lnTo>
                  <a:lnTo>
                    <a:pt x="2916" y="550"/>
                  </a:lnTo>
                  <a:lnTo>
                    <a:pt x="2901" y="564"/>
                  </a:lnTo>
                  <a:lnTo>
                    <a:pt x="2882" y="575"/>
                  </a:lnTo>
                  <a:lnTo>
                    <a:pt x="2861" y="584"/>
                  </a:lnTo>
                  <a:lnTo>
                    <a:pt x="2837" y="590"/>
                  </a:lnTo>
                  <a:lnTo>
                    <a:pt x="2810" y="592"/>
                  </a:lnTo>
                  <a:lnTo>
                    <a:pt x="2784" y="590"/>
                  </a:lnTo>
                  <a:lnTo>
                    <a:pt x="2759" y="584"/>
                  </a:lnTo>
                  <a:lnTo>
                    <a:pt x="2738" y="575"/>
                  </a:lnTo>
                  <a:lnTo>
                    <a:pt x="2718" y="563"/>
                  </a:lnTo>
                  <a:lnTo>
                    <a:pt x="2702" y="545"/>
                  </a:lnTo>
                  <a:lnTo>
                    <a:pt x="2689" y="525"/>
                  </a:lnTo>
                  <a:lnTo>
                    <a:pt x="2679" y="500"/>
                  </a:lnTo>
                  <a:lnTo>
                    <a:pt x="2672" y="470"/>
                  </a:lnTo>
                  <a:lnTo>
                    <a:pt x="2671" y="437"/>
                  </a:lnTo>
                  <a:lnTo>
                    <a:pt x="2671" y="135"/>
                  </a:lnTo>
                  <a:close/>
                  <a:moveTo>
                    <a:pt x="3413" y="130"/>
                  </a:moveTo>
                  <a:lnTo>
                    <a:pt x="3413" y="252"/>
                  </a:lnTo>
                  <a:lnTo>
                    <a:pt x="3383" y="253"/>
                  </a:lnTo>
                  <a:lnTo>
                    <a:pt x="3357" y="258"/>
                  </a:lnTo>
                  <a:lnTo>
                    <a:pt x="3333" y="264"/>
                  </a:lnTo>
                  <a:lnTo>
                    <a:pt x="3314" y="275"/>
                  </a:lnTo>
                  <a:lnTo>
                    <a:pt x="3299" y="288"/>
                  </a:lnTo>
                  <a:lnTo>
                    <a:pt x="3288" y="305"/>
                  </a:lnTo>
                  <a:lnTo>
                    <a:pt x="3281" y="327"/>
                  </a:lnTo>
                  <a:lnTo>
                    <a:pt x="3279" y="353"/>
                  </a:lnTo>
                  <a:lnTo>
                    <a:pt x="3279" y="583"/>
                  </a:lnTo>
                  <a:lnTo>
                    <a:pt x="3154" y="583"/>
                  </a:lnTo>
                  <a:lnTo>
                    <a:pt x="3154" y="135"/>
                  </a:lnTo>
                  <a:lnTo>
                    <a:pt x="3279" y="135"/>
                  </a:lnTo>
                  <a:lnTo>
                    <a:pt x="3279" y="217"/>
                  </a:lnTo>
                  <a:lnTo>
                    <a:pt x="3293" y="190"/>
                  </a:lnTo>
                  <a:lnTo>
                    <a:pt x="3311" y="169"/>
                  </a:lnTo>
                  <a:lnTo>
                    <a:pt x="3331" y="151"/>
                  </a:lnTo>
                  <a:lnTo>
                    <a:pt x="3354" y="139"/>
                  </a:lnTo>
                  <a:lnTo>
                    <a:pt x="3383" y="132"/>
                  </a:lnTo>
                  <a:lnTo>
                    <a:pt x="3413" y="130"/>
                  </a:lnTo>
                  <a:close/>
                  <a:moveTo>
                    <a:pt x="3664" y="126"/>
                  </a:moveTo>
                  <a:lnTo>
                    <a:pt x="3695" y="127"/>
                  </a:lnTo>
                  <a:lnTo>
                    <a:pt x="3723" y="132"/>
                  </a:lnTo>
                  <a:lnTo>
                    <a:pt x="3750" y="140"/>
                  </a:lnTo>
                  <a:lnTo>
                    <a:pt x="3775" y="152"/>
                  </a:lnTo>
                  <a:lnTo>
                    <a:pt x="3797" y="167"/>
                  </a:lnTo>
                  <a:lnTo>
                    <a:pt x="3818" y="185"/>
                  </a:lnTo>
                  <a:lnTo>
                    <a:pt x="3835" y="207"/>
                  </a:lnTo>
                  <a:lnTo>
                    <a:pt x="3849" y="233"/>
                  </a:lnTo>
                  <a:lnTo>
                    <a:pt x="3860" y="264"/>
                  </a:lnTo>
                  <a:lnTo>
                    <a:pt x="3867" y="298"/>
                  </a:lnTo>
                  <a:lnTo>
                    <a:pt x="3869" y="336"/>
                  </a:lnTo>
                  <a:lnTo>
                    <a:pt x="3869" y="390"/>
                  </a:lnTo>
                  <a:lnTo>
                    <a:pt x="3578" y="390"/>
                  </a:lnTo>
                  <a:lnTo>
                    <a:pt x="3582" y="417"/>
                  </a:lnTo>
                  <a:lnTo>
                    <a:pt x="3588" y="441"/>
                  </a:lnTo>
                  <a:lnTo>
                    <a:pt x="3596" y="460"/>
                  </a:lnTo>
                  <a:lnTo>
                    <a:pt x="3606" y="475"/>
                  </a:lnTo>
                  <a:lnTo>
                    <a:pt x="3619" y="487"/>
                  </a:lnTo>
                  <a:lnTo>
                    <a:pt x="3635" y="495"/>
                  </a:lnTo>
                  <a:lnTo>
                    <a:pt x="3652" y="500"/>
                  </a:lnTo>
                  <a:lnTo>
                    <a:pt x="3671" y="501"/>
                  </a:lnTo>
                  <a:lnTo>
                    <a:pt x="3694" y="499"/>
                  </a:lnTo>
                  <a:lnTo>
                    <a:pt x="3712" y="493"/>
                  </a:lnTo>
                  <a:lnTo>
                    <a:pt x="3728" y="485"/>
                  </a:lnTo>
                  <a:lnTo>
                    <a:pt x="3740" y="473"/>
                  </a:lnTo>
                  <a:lnTo>
                    <a:pt x="3748" y="459"/>
                  </a:lnTo>
                  <a:lnTo>
                    <a:pt x="3754" y="443"/>
                  </a:lnTo>
                  <a:lnTo>
                    <a:pt x="3869" y="443"/>
                  </a:lnTo>
                  <a:lnTo>
                    <a:pt x="3862" y="470"/>
                  </a:lnTo>
                  <a:lnTo>
                    <a:pt x="3851" y="495"/>
                  </a:lnTo>
                  <a:lnTo>
                    <a:pt x="3837" y="519"/>
                  </a:lnTo>
                  <a:lnTo>
                    <a:pt x="3818" y="540"/>
                  </a:lnTo>
                  <a:lnTo>
                    <a:pt x="3796" y="558"/>
                  </a:lnTo>
                  <a:lnTo>
                    <a:pt x="3770" y="572"/>
                  </a:lnTo>
                  <a:lnTo>
                    <a:pt x="3740" y="583"/>
                  </a:lnTo>
                  <a:lnTo>
                    <a:pt x="3707" y="590"/>
                  </a:lnTo>
                  <a:lnTo>
                    <a:pt x="3669" y="592"/>
                  </a:lnTo>
                  <a:lnTo>
                    <a:pt x="3635" y="590"/>
                  </a:lnTo>
                  <a:lnTo>
                    <a:pt x="3603" y="584"/>
                  </a:lnTo>
                  <a:lnTo>
                    <a:pt x="3573" y="574"/>
                  </a:lnTo>
                  <a:lnTo>
                    <a:pt x="3548" y="561"/>
                  </a:lnTo>
                  <a:lnTo>
                    <a:pt x="3523" y="545"/>
                  </a:lnTo>
                  <a:lnTo>
                    <a:pt x="3503" y="524"/>
                  </a:lnTo>
                  <a:lnTo>
                    <a:pt x="3485" y="500"/>
                  </a:lnTo>
                  <a:lnTo>
                    <a:pt x="3471" y="472"/>
                  </a:lnTo>
                  <a:lnTo>
                    <a:pt x="3460" y="440"/>
                  </a:lnTo>
                  <a:lnTo>
                    <a:pt x="3454" y="404"/>
                  </a:lnTo>
                  <a:lnTo>
                    <a:pt x="3452" y="366"/>
                  </a:lnTo>
                  <a:lnTo>
                    <a:pt x="3452" y="357"/>
                  </a:lnTo>
                  <a:lnTo>
                    <a:pt x="3454" y="318"/>
                  </a:lnTo>
                  <a:lnTo>
                    <a:pt x="3461" y="283"/>
                  </a:lnTo>
                  <a:lnTo>
                    <a:pt x="3472" y="251"/>
                  </a:lnTo>
                  <a:lnTo>
                    <a:pt x="3486" y="222"/>
                  </a:lnTo>
                  <a:lnTo>
                    <a:pt x="3504" y="197"/>
                  </a:lnTo>
                  <a:lnTo>
                    <a:pt x="3524" y="176"/>
                  </a:lnTo>
                  <a:lnTo>
                    <a:pt x="3548" y="158"/>
                  </a:lnTo>
                  <a:lnTo>
                    <a:pt x="3575" y="144"/>
                  </a:lnTo>
                  <a:lnTo>
                    <a:pt x="3603" y="134"/>
                  </a:lnTo>
                  <a:lnTo>
                    <a:pt x="3632" y="128"/>
                  </a:lnTo>
                  <a:lnTo>
                    <a:pt x="3664" y="126"/>
                  </a:lnTo>
                  <a:close/>
                  <a:moveTo>
                    <a:pt x="2141" y="126"/>
                  </a:moveTo>
                  <a:lnTo>
                    <a:pt x="2167" y="127"/>
                  </a:lnTo>
                  <a:lnTo>
                    <a:pt x="2191" y="133"/>
                  </a:lnTo>
                  <a:lnTo>
                    <a:pt x="2213" y="143"/>
                  </a:lnTo>
                  <a:lnTo>
                    <a:pt x="2230" y="156"/>
                  </a:lnTo>
                  <a:lnTo>
                    <a:pt x="2247" y="173"/>
                  </a:lnTo>
                  <a:lnTo>
                    <a:pt x="2260" y="194"/>
                  </a:lnTo>
                  <a:lnTo>
                    <a:pt x="2268" y="219"/>
                  </a:lnTo>
                  <a:lnTo>
                    <a:pt x="2274" y="249"/>
                  </a:lnTo>
                  <a:lnTo>
                    <a:pt x="2276" y="283"/>
                  </a:lnTo>
                  <a:lnTo>
                    <a:pt x="2276" y="583"/>
                  </a:lnTo>
                  <a:lnTo>
                    <a:pt x="2151" y="583"/>
                  </a:lnTo>
                  <a:lnTo>
                    <a:pt x="2151" y="302"/>
                  </a:lnTo>
                  <a:lnTo>
                    <a:pt x="2150" y="278"/>
                  </a:lnTo>
                  <a:lnTo>
                    <a:pt x="2144" y="259"/>
                  </a:lnTo>
                  <a:lnTo>
                    <a:pt x="2135" y="245"/>
                  </a:lnTo>
                  <a:lnTo>
                    <a:pt x="2122" y="235"/>
                  </a:lnTo>
                  <a:lnTo>
                    <a:pt x="2105" y="229"/>
                  </a:lnTo>
                  <a:lnTo>
                    <a:pt x="2085" y="226"/>
                  </a:lnTo>
                  <a:lnTo>
                    <a:pt x="2067" y="229"/>
                  </a:lnTo>
                  <a:lnTo>
                    <a:pt x="2050" y="233"/>
                  </a:lnTo>
                  <a:lnTo>
                    <a:pt x="2036" y="242"/>
                  </a:lnTo>
                  <a:lnTo>
                    <a:pt x="2024" y="253"/>
                  </a:lnTo>
                  <a:lnTo>
                    <a:pt x="2015" y="269"/>
                  </a:lnTo>
                  <a:lnTo>
                    <a:pt x="2009" y="288"/>
                  </a:lnTo>
                  <a:lnTo>
                    <a:pt x="2006" y="310"/>
                  </a:lnTo>
                  <a:lnTo>
                    <a:pt x="2006" y="583"/>
                  </a:lnTo>
                  <a:lnTo>
                    <a:pt x="1882" y="583"/>
                  </a:lnTo>
                  <a:lnTo>
                    <a:pt x="1882" y="135"/>
                  </a:lnTo>
                  <a:lnTo>
                    <a:pt x="2006" y="135"/>
                  </a:lnTo>
                  <a:lnTo>
                    <a:pt x="2006" y="202"/>
                  </a:lnTo>
                  <a:lnTo>
                    <a:pt x="2017" y="185"/>
                  </a:lnTo>
                  <a:lnTo>
                    <a:pt x="2031" y="169"/>
                  </a:lnTo>
                  <a:lnTo>
                    <a:pt x="2048" y="154"/>
                  </a:lnTo>
                  <a:lnTo>
                    <a:pt x="2067" y="143"/>
                  </a:lnTo>
                  <a:lnTo>
                    <a:pt x="2089" y="134"/>
                  </a:lnTo>
                  <a:lnTo>
                    <a:pt x="2114" y="128"/>
                  </a:lnTo>
                  <a:lnTo>
                    <a:pt x="2141" y="126"/>
                  </a:lnTo>
                  <a:close/>
                  <a:moveTo>
                    <a:pt x="1601" y="126"/>
                  </a:moveTo>
                  <a:lnTo>
                    <a:pt x="1631" y="127"/>
                  </a:lnTo>
                  <a:lnTo>
                    <a:pt x="1659" y="132"/>
                  </a:lnTo>
                  <a:lnTo>
                    <a:pt x="1686" y="140"/>
                  </a:lnTo>
                  <a:lnTo>
                    <a:pt x="1712" y="152"/>
                  </a:lnTo>
                  <a:lnTo>
                    <a:pt x="1734" y="167"/>
                  </a:lnTo>
                  <a:lnTo>
                    <a:pt x="1754" y="185"/>
                  </a:lnTo>
                  <a:lnTo>
                    <a:pt x="1772" y="207"/>
                  </a:lnTo>
                  <a:lnTo>
                    <a:pt x="1786" y="233"/>
                  </a:lnTo>
                  <a:lnTo>
                    <a:pt x="1797" y="264"/>
                  </a:lnTo>
                  <a:lnTo>
                    <a:pt x="1803" y="298"/>
                  </a:lnTo>
                  <a:lnTo>
                    <a:pt x="1805" y="336"/>
                  </a:lnTo>
                  <a:lnTo>
                    <a:pt x="1805" y="390"/>
                  </a:lnTo>
                  <a:lnTo>
                    <a:pt x="1515" y="390"/>
                  </a:lnTo>
                  <a:lnTo>
                    <a:pt x="1519" y="417"/>
                  </a:lnTo>
                  <a:lnTo>
                    <a:pt x="1525" y="441"/>
                  </a:lnTo>
                  <a:lnTo>
                    <a:pt x="1533" y="460"/>
                  </a:lnTo>
                  <a:lnTo>
                    <a:pt x="1543" y="475"/>
                  </a:lnTo>
                  <a:lnTo>
                    <a:pt x="1556" y="487"/>
                  </a:lnTo>
                  <a:lnTo>
                    <a:pt x="1572" y="495"/>
                  </a:lnTo>
                  <a:lnTo>
                    <a:pt x="1588" y="500"/>
                  </a:lnTo>
                  <a:lnTo>
                    <a:pt x="1608" y="501"/>
                  </a:lnTo>
                  <a:lnTo>
                    <a:pt x="1629" y="499"/>
                  </a:lnTo>
                  <a:lnTo>
                    <a:pt x="1648" y="493"/>
                  </a:lnTo>
                  <a:lnTo>
                    <a:pt x="1664" y="485"/>
                  </a:lnTo>
                  <a:lnTo>
                    <a:pt x="1675" y="473"/>
                  </a:lnTo>
                  <a:lnTo>
                    <a:pt x="1684" y="459"/>
                  </a:lnTo>
                  <a:lnTo>
                    <a:pt x="1690" y="443"/>
                  </a:lnTo>
                  <a:lnTo>
                    <a:pt x="1805" y="443"/>
                  </a:lnTo>
                  <a:lnTo>
                    <a:pt x="1798" y="470"/>
                  </a:lnTo>
                  <a:lnTo>
                    <a:pt x="1787" y="495"/>
                  </a:lnTo>
                  <a:lnTo>
                    <a:pt x="1773" y="519"/>
                  </a:lnTo>
                  <a:lnTo>
                    <a:pt x="1754" y="540"/>
                  </a:lnTo>
                  <a:lnTo>
                    <a:pt x="1732" y="558"/>
                  </a:lnTo>
                  <a:lnTo>
                    <a:pt x="1706" y="572"/>
                  </a:lnTo>
                  <a:lnTo>
                    <a:pt x="1677" y="583"/>
                  </a:lnTo>
                  <a:lnTo>
                    <a:pt x="1642" y="590"/>
                  </a:lnTo>
                  <a:lnTo>
                    <a:pt x="1606" y="592"/>
                  </a:lnTo>
                  <a:lnTo>
                    <a:pt x="1572" y="590"/>
                  </a:lnTo>
                  <a:lnTo>
                    <a:pt x="1540" y="584"/>
                  </a:lnTo>
                  <a:lnTo>
                    <a:pt x="1510" y="574"/>
                  </a:lnTo>
                  <a:lnTo>
                    <a:pt x="1483" y="561"/>
                  </a:lnTo>
                  <a:lnTo>
                    <a:pt x="1460" y="545"/>
                  </a:lnTo>
                  <a:lnTo>
                    <a:pt x="1439" y="524"/>
                  </a:lnTo>
                  <a:lnTo>
                    <a:pt x="1421" y="500"/>
                  </a:lnTo>
                  <a:lnTo>
                    <a:pt x="1407" y="472"/>
                  </a:lnTo>
                  <a:lnTo>
                    <a:pt x="1397" y="440"/>
                  </a:lnTo>
                  <a:lnTo>
                    <a:pt x="1390" y="404"/>
                  </a:lnTo>
                  <a:lnTo>
                    <a:pt x="1389" y="366"/>
                  </a:lnTo>
                  <a:lnTo>
                    <a:pt x="1389" y="357"/>
                  </a:lnTo>
                  <a:lnTo>
                    <a:pt x="1391" y="318"/>
                  </a:lnTo>
                  <a:lnTo>
                    <a:pt x="1397" y="283"/>
                  </a:lnTo>
                  <a:lnTo>
                    <a:pt x="1408" y="251"/>
                  </a:lnTo>
                  <a:lnTo>
                    <a:pt x="1422" y="222"/>
                  </a:lnTo>
                  <a:lnTo>
                    <a:pt x="1440" y="197"/>
                  </a:lnTo>
                  <a:lnTo>
                    <a:pt x="1461" y="176"/>
                  </a:lnTo>
                  <a:lnTo>
                    <a:pt x="1485" y="158"/>
                  </a:lnTo>
                  <a:lnTo>
                    <a:pt x="1510" y="144"/>
                  </a:lnTo>
                  <a:lnTo>
                    <a:pt x="1539" y="134"/>
                  </a:lnTo>
                  <a:lnTo>
                    <a:pt x="1569" y="128"/>
                  </a:lnTo>
                  <a:lnTo>
                    <a:pt x="1601" y="126"/>
                  </a:lnTo>
                  <a:close/>
                  <a:moveTo>
                    <a:pt x="1138" y="126"/>
                  </a:moveTo>
                  <a:lnTo>
                    <a:pt x="1169" y="127"/>
                  </a:lnTo>
                  <a:lnTo>
                    <a:pt x="1197" y="132"/>
                  </a:lnTo>
                  <a:lnTo>
                    <a:pt x="1223" y="140"/>
                  </a:lnTo>
                  <a:lnTo>
                    <a:pt x="1248" y="152"/>
                  </a:lnTo>
                  <a:lnTo>
                    <a:pt x="1270" y="166"/>
                  </a:lnTo>
                  <a:lnTo>
                    <a:pt x="1290" y="185"/>
                  </a:lnTo>
                  <a:lnTo>
                    <a:pt x="1307" y="206"/>
                  </a:lnTo>
                  <a:lnTo>
                    <a:pt x="1320" y="232"/>
                  </a:lnTo>
                  <a:lnTo>
                    <a:pt x="1329" y="262"/>
                  </a:lnTo>
                  <a:lnTo>
                    <a:pt x="1334" y="295"/>
                  </a:lnTo>
                  <a:lnTo>
                    <a:pt x="1215" y="295"/>
                  </a:lnTo>
                  <a:lnTo>
                    <a:pt x="1209" y="273"/>
                  </a:lnTo>
                  <a:lnTo>
                    <a:pt x="1202" y="256"/>
                  </a:lnTo>
                  <a:lnTo>
                    <a:pt x="1191" y="242"/>
                  </a:lnTo>
                  <a:lnTo>
                    <a:pt x="1178" y="231"/>
                  </a:lnTo>
                  <a:lnTo>
                    <a:pt x="1161" y="225"/>
                  </a:lnTo>
                  <a:lnTo>
                    <a:pt x="1140" y="223"/>
                  </a:lnTo>
                  <a:lnTo>
                    <a:pt x="1122" y="224"/>
                  </a:lnTo>
                  <a:lnTo>
                    <a:pt x="1105" y="231"/>
                  </a:lnTo>
                  <a:lnTo>
                    <a:pt x="1090" y="240"/>
                  </a:lnTo>
                  <a:lnTo>
                    <a:pt x="1077" y="255"/>
                  </a:lnTo>
                  <a:lnTo>
                    <a:pt x="1066" y="272"/>
                  </a:lnTo>
                  <a:lnTo>
                    <a:pt x="1058" y="295"/>
                  </a:lnTo>
                  <a:lnTo>
                    <a:pt x="1053" y="322"/>
                  </a:lnTo>
                  <a:lnTo>
                    <a:pt x="1051" y="353"/>
                  </a:lnTo>
                  <a:lnTo>
                    <a:pt x="1051" y="366"/>
                  </a:lnTo>
                  <a:lnTo>
                    <a:pt x="1053" y="397"/>
                  </a:lnTo>
                  <a:lnTo>
                    <a:pt x="1058" y="424"/>
                  </a:lnTo>
                  <a:lnTo>
                    <a:pt x="1065" y="448"/>
                  </a:lnTo>
                  <a:lnTo>
                    <a:pt x="1075" y="466"/>
                  </a:lnTo>
                  <a:lnTo>
                    <a:pt x="1087" y="480"/>
                  </a:lnTo>
                  <a:lnTo>
                    <a:pt x="1103" y="489"/>
                  </a:lnTo>
                  <a:lnTo>
                    <a:pt x="1122" y="495"/>
                  </a:lnTo>
                  <a:lnTo>
                    <a:pt x="1142" y="498"/>
                  </a:lnTo>
                  <a:lnTo>
                    <a:pt x="1162" y="495"/>
                  </a:lnTo>
                  <a:lnTo>
                    <a:pt x="1181" y="488"/>
                  </a:lnTo>
                  <a:lnTo>
                    <a:pt x="1196" y="475"/>
                  </a:lnTo>
                  <a:lnTo>
                    <a:pt x="1209" y="460"/>
                  </a:lnTo>
                  <a:lnTo>
                    <a:pt x="1217" y="440"/>
                  </a:lnTo>
                  <a:lnTo>
                    <a:pt x="1223" y="417"/>
                  </a:lnTo>
                  <a:lnTo>
                    <a:pt x="1336" y="417"/>
                  </a:lnTo>
                  <a:lnTo>
                    <a:pt x="1331" y="450"/>
                  </a:lnTo>
                  <a:lnTo>
                    <a:pt x="1322" y="480"/>
                  </a:lnTo>
                  <a:lnTo>
                    <a:pt x="1308" y="508"/>
                  </a:lnTo>
                  <a:lnTo>
                    <a:pt x="1290" y="532"/>
                  </a:lnTo>
                  <a:lnTo>
                    <a:pt x="1268" y="552"/>
                  </a:lnTo>
                  <a:lnTo>
                    <a:pt x="1241" y="570"/>
                  </a:lnTo>
                  <a:lnTo>
                    <a:pt x="1211" y="581"/>
                  </a:lnTo>
                  <a:lnTo>
                    <a:pt x="1176" y="588"/>
                  </a:lnTo>
                  <a:lnTo>
                    <a:pt x="1138" y="592"/>
                  </a:lnTo>
                  <a:lnTo>
                    <a:pt x="1105" y="590"/>
                  </a:lnTo>
                  <a:lnTo>
                    <a:pt x="1073" y="584"/>
                  </a:lnTo>
                  <a:lnTo>
                    <a:pt x="1045" y="574"/>
                  </a:lnTo>
                  <a:lnTo>
                    <a:pt x="1019" y="561"/>
                  </a:lnTo>
                  <a:lnTo>
                    <a:pt x="996" y="544"/>
                  </a:lnTo>
                  <a:lnTo>
                    <a:pt x="974" y="524"/>
                  </a:lnTo>
                  <a:lnTo>
                    <a:pt x="957" y="499"/>
                  </a:lnTo>
                  <a:lnTo>
                    <a:pt x="944" y="470"/>
                  </a:lnTo>
                  <a:lnTo>
                    <a:pt x="933" y="439"/>
                  </a:lnTo>
                  <a:lnTo>
                    <a:pt x="926" y="403"/>
                  </a:lnTo>
                  <a:lnTo>
                    <a:pt x="925" y="363"/>
                  </a:lnTo>
                  <a:lnTo>
                    <a:pt x="925" y="357"/>
                  </a:lnTo>
                  <a:lnTo>
                    <a:pt x="926" y="318"/>
                  </a:lnTo>
                  <a:lnTo>
                    <a:pt x="933" y="282"/>
                  </a:lnTo>
                  <a:lnTo>
                    <a:pt x="944" y="250"/>
                  </a:lnTo>
                  <a:lnTo>
                    <a:pt x="959" y="222"/>
                  </a:lnTo>
                  <a:lnTo>
                    <a:pt x="977" y="196"/>
                  </a:lnTo>
                  <a:lnTo>
                    <a:pt x="998" y="174"/>
                  </a:lnTo>
                  <a:lnTo>
                    <a:pt x="1021" y="158"/>
                  </a:lnTo>
                  <a:lnTo>
                    <a:pt x="1049" y="144"/>
                  </a:lnTo>
                  <a:lnTo>
                    <a:pt x="1077" y="134"/>
                  </a:lnTo>
                  <a:lnTo>
                    <a:pt x="1106" y="128"/>
                  </a:lnTo>
                  <a:lnTo>
                    <a:pt x="1138" y="126"/>
                  </a:lnTo>
                  <a:close/>
                  <a:moveTo>
                    <a:pt x="674" y="126"/>
                  </a:moveTo>
                  <a:lnTo>
                    <a:pt x="705" y="127"/>
                  </a:lnTo>
                  <a:lnTo>
                    <a:pt x="733" y="132"/>
                  </a:lnTo>
                  <a:lnTo>
                    <a:pt x="759" y="140"/>
                  </a:lnTo>
                  <a:lnTo>
                    <a:pt x="783" y="152"/>
                  </a:lnTo>
                  <a:lnTo>
                    <a:pt x="806" y="166"/>
                  </a:lnTo>
                  <a:lnTo>
                    <a:pt x="826" y="185"/>
                  </a:lnTo>
                  <a:lnTo>
                    <a:pt x="842" y="206"/>
                  </a:lnTo>
                  <a:lnTo>
                    <a:pt x="855" y="232"/>
                  </a:lnTo>
                  <a:lnTo>
                    <a:pt x="865" y="262"/>
                  </a:lnTo>
                  <a:lnTo>
                    <a:pt x="869" y="295"/>
                  </a:lnTo>
                  <a:lnTo>
                    <a:pt x="751" y="295"/>
                  </a:lnTo>
                  <a:lnTo>
                    <a:pt x="745" y="273"/>
                  </a:lnTo>
                  <a:lnTo>
                    <a:pt x="738" y="256"/>
                  </a:lnTo>
                  <a:lnTo>
                    <a:pt x="727" y="242"/>
                  </a:lnTo>
                  <a:lnTo>
                    <a:pt x="714" y="231"/>
                  </a:lnTo>
                  <a:lnTo>
                    <a:pt x="696" y="225"/>
                  </a:lnTo>
                  <a:lnTo>
                    <a:pt x="676" y="223"/>
                  </a:lnTo>
                  <a:lnTo>
                    <a:pt x="657" y="224"/>
                  </a:lnTo>
                  <a:lnTo>
                    <a:pt x="641" y="231"/>
                  </a:lnTo>
                  <a:lnTo>
                    <a:pt x="626" y="240"/>
                  </a:lnTo>
                  <a:lnTo>
                    <a:pt x="613" y="255"/>
                  </a:lnTo>
                  <a:lnTo>
                    <a:pt x="602" y="272"/>
                  </a:lnTo>
                  <a:lnTo>
                    <a:pt x="594" y="295"/>
                  </a:lnTo>
                  <a:lnTo>
                    <a:pt x="589" y="322"/>
                  </a:lnTo>
                  <a:lnTo>
                    <a:pt x="587" y="353"/>
                  </a:lnTo>
                  <a:lnTo>
                    <a:pt x="587" y="366"/>
                  </a:lnTo>
                  <a:lnTo>
                    <a:pt x="589" y="397"/>
                  </a:lnTo>
                  <a:lnTo>
                    <a:pt x="593" y="424"/>
                  </a:lnTo>
                  <a:lnTo>
                    <a:pt x="601" y="448"/>
                  </a:lnTo>
                  <a:lnTo>
                    <a:pt x="610" y="466"/>
                  </a:lnTo>
                  <a:lnTo>
                    <a:pt x="623" y="480"/>
                  </a:lnTo>
                  <a:lnTo>
                    <a:pt x="639" y="489"/>
                  </a:lnTo>
                  <a:lnTo>
                    <a:pt x="657" y="495"/>
                  </a:lnTo>
                  <a:lnTo>
                    <a:pt x="677" y="498"/>
                  </a:lnTo>
                  <a:lnTo>
                    <a:pt x="697" y="495"/>
                  </a:lnTo>
                  <a:lnTo>
                    <a:pt x="716" y="488"/>
                  </a:lnTo>
                  <a:lnTo>
                    <a:pt x="732" y="475"/>
                  </a:lnTo>
                  <a:lnTo>
                    <a:pt x="745" y="460"/>
                  </a:lnTo>
                  <a:lnTo>
                    <a:pt x="753" y="440"/>
                  </a:lnTo>
                  <a:lnTo>
                    <a:pt x="759" y="417"/>
                  </a:lnTo>
                  <a:lnTo>
                    <a:pt x="872" y="417"/>
                  </a:lnTo>
                  <a:lnTo>
                    <a:pt x="867" y="450"/>
                  </a:lnTo>
                  <a:lnTo>
                    <a:pt x="858" y="480"/>
                  </a:lnTo>
                  <a:lnTo>
                    <a:pt x="844" y="508"/>
                  </a:lnTo>
                  <a:lnTo>
                    <a:pt x="826" y="532"/>
                  </a:lnTo>
                  <a:lnTo>
                    <a:pt x="804" y="552"/>
                  </a:lnTo>
                  <a:lnTo>
                    <a:pt x="776" y="570"/>
                  </a:lnTo>
                  <a:lnTo>
                    <a:pt x="746" y="581"/>
                  </a:lnTo>
                  <a:lnTo>
                    <a:pt x="712" y="588"/>
                  </a:lnTo>
                  <a:lnTo>
                    <a:pt x="674" y="592"/>
                  </a:lnTo>
                  <a:lnTo>
                    <a:pt x="641" y="590"/>
                  </a:lnTo>
                  <a:lnTo>
                    <a:pt x="609" y="584"/>
                  </a:lnTo>
                  <a:lnTo>
                    <a:pt x="581" y="574"/>
                  </a:lnTo>
                  <a:lnTo>
                    <a:pt x="555" y="561"/>
                  </a:lnTo>
                  <a:lnTo>
                    <a:pt x="531" y="544"/>
                  </a:lnTo>
                  <a:lnTo>
                    <a:pt x="510" y="524"/>
                  </a:lnTo>
                  <a:lnTo>
                    <a:pt x="492" y="499"/>
                  </a:lnTo>
                  <a:lnTo>
                    <a:pt x="478" y="470"/>
                  </a:lnTo>
                  <a:lnTo>
                    <a:pt x="469" y="439"/>
                  </a:lnTo>
                  <a:lnTo>
                    <a:pt x="462" y="403"/>
                  </a:lnTo>
                  <a:lnTo>
                    <a:pt x="459" y="363"/>
                  </a:lnTo>
                  <a:lnTo>
                    <a:pt x="459" y="357"/>
                  </a:lnTo>
                  <a:lnTo>
                    <a:pt x="462" y="318"/>
                  </a:lnTo>
                  <a:lnTo>
                    <a:pt x="469" y="282"/>
                  </a:lnTo>
                  <a:lnTo>
                    <a:pt x="480" y="250"/>
                  </a:lnTo>
                  <a:lnTo>
                    <a:pt x="495" y="222"/>
                  </a:lnTo>
                  <a:lnTo>
                    <a:pt x="513" y="196"/>
                  </a:lnTo>
                  <a:lnTo>
                    <a:pt x="534" y="174"/>
                  </a:lnTo>
                  <a:lnTo>
                    <a:pt x="557" y="158"/>
                  </a:lnTo>
                  <a:lnTo>
                    <a:pt x="583" y="144"/>
                  </a:lnTo>
                  <a:lnTo>
                    <a:pt x="613" y="134"/>
                  </a:lnTo>
                  <a:lnTo>
                    <a:pt x="642" y="128"/>
                  </a:lnTo>
                  <a:lnTo>
                    <a:pt x="674" y="126"/>
                  </a:lnTo>
                  <a:close/>
                  <a:moveTo>
                    <a:pt x="206" y="126"/>
                  </a:moveTo>
                  <a:lnTo>
                    <a:pt x="238" y="127"/>
                  </a:lnTo>
                  <a:lnTo>
                    <a:pt x="267" y="132"/>
                  </a:lnTo>
                  <a:lnTo>
                    <a:pt x="293" y="139"/>
                  </a:lnTo>
                  <a:lnTo>
                    <a:pt x="318" y="150"/>
                  </a:lnTo>
                  <a:lnTo>
                    <a:pt x="339" y="163"/>
                  </a:lnTo>
                  <a:lnTo>
                    <a:pt x="357" y="180"/>
                  </a:lnTo>
                  <a:lnTo>
                    <a:pt x="371" y="200"/>
                  </a:lnTo>
                  <a:lnTo>
                    <a:pt x="382" y="224"/>
                  </a:lnTo>
                  <a:lnTo>
                    <a:pt x="389" y="252"/>
                  </a:lnTo>
                  <a:lnTo>
                    <a:pt x="391" y="283"/>
                  </a:lnTo>
                  <a:lnTo>
                    <a:pt x="391" y="583"/>
                  </a:lnTo>
                  <a:lnTo>
                    <a:pt x="269" y="583"/>
                  </a:lnTo>
                  <a:lnTo>
                    <a:pt x="269" y="531"/>
                  </a:lnTo>
                  <a:lnTo>
                    <a:pt x="257" y="547"/>
                  </a:lnTo>
                  <a:lnTo>
                    <a:pt x="242" y="561"/>
                  </a:lnTo>
                  <a:lnTo>
                    <a:pt x="223" y="573"/>
                  </a:lnTo>
                  <a:lnTo>
                    <a:pt x="200" y="583"/>
                  </a:lnTo>
                  <a:lnTo>
                    <a:pt x="176" y="590"/>
                  </a:lnTo>
                  <a:lnTo>
                    <a:pt x="147" y="592"/>
                  </a:lnTo>
                  <a:lnTo>
                    <a:pt x="120" y="590"/>
                  </a:lnTo>
                  <a:lnTo>
                    <a:pt x="95" y="585"/>
                  </a:lnTo>
                  <a:lnTo>
                    <a:pt x="73" y="578"/>
                  </a:lnTo>
                  <a:lnTo>
                    <a:pt x="53" y="566"/>
                  </a:lnTo>
                  <a:lnTo>
                    <a:pt x="35" y="552"/>
                  </a:lnTo>
                  <a:lnTo>
                    <a:pt x="20" y="534"/>
                  </a:lnTo>
                  <a:lnTo>
                    <a:pt x="9" y="513"/>
                  </a:lnTo>
                  <a:lnTo>
                    <a:pt x="2" y="488"/>
                  </a:lnTo>
                  <a:lnTo>
                    <a:pt x="0" y="460"/>
                  </a:lnTo>
                  <a:lnTo>
                    <a:pt x="0" y="455"/>
                  </a:lnTo>
                  <a:lnTo>
                    <a:pt x="2" y="427"/>
                  </a:lnTo>
                  <a:lnTo>
                    <a:pt x="9" y="402"/>
                  </a:lnTo>
                  <a:lnTo>
                    <a:pt x="20" y="381"/>
                  </a:lnTo>
                  <a:lnTo>
                    <a:pt x="34" y="362"/>
                  </a:lnTo>
                  <a:lnTo>
                    <a:pt x="52" y="347"/>
                  </a:lnTo>
                  <a:lnTo>
                    <a:pt x="73" y="335"/>
                  </a:lnTo>
                  <a:lnTo>
                    <a:pt x="97" y="325"/>
                  </a:lnTo>
                  <a:lnTo>
                    <a:pt x="123" y="317"/>
                  </a:lnTo>
                  <a:lnTo>
                    <a:pt x="151" y="312"/>
                  </a:lnTo>
                  <a:lnTo>
                    <a:pt x="180" y="310"/>
                  </a:lnTo>
                  <a:lnTo>
                    <a:pt x="211" y="309"/>
                  </a:lnTo>
                  <a:lnTo>
                    <a:pt x="266" y="309"/>
                  </a:lnTo>
                  <a:lnTo>
                    <a:pt x="266" y="288"/>
                  </a:lnTo>
                  <a:lnTo>
                    <a:pt x="265" y="266"/>
                  </a:lnTo>
                  <a:lnTo>
                    <a:pt x="259" y="249"/>
                  </a:lnTo>
                  <a:lnTo>
                    <a:pt x="251" y="235"/>
                  </a:lnTo>
                  <a:lnTo>
                    <a:pt x="238" y="224"/>
                  </a:lnTo>
                  <a:lnTo>
                    <a:pt x="221" y="218"/>
                  </a:lnTo>
                  <a:lnTo>
                    <a:pt x="200" y="216"/>
                  </a:lnTo>
                  <a:lnTo>
                    <a:pt x="181" y="218"/>
                  </a:lnTo>
                  <a:lnTo>
                    <a:pt x="165" y="223"/>
                  </a:lnTo>
                  <a:lnTo>
                    <a:pt x="152" y="232"/>
                  </a:lnTo>
                  <a:lnTo>
                    <a:pt x="143" y="244"/>
                  </a:lnTo>
                  <a:lnTo>
                    <a:pt x="137" y="258"/>
                  </a:lnTo>
                  <a:lnTo>
                    <a:pt x="133" y="273"/>
                  </a:lnTo>
                  <a:lnTo>
                    <a:pt x="14" y="273"/>
                  </a:lnTo>
                  <a:lnTo>
                    <a:pt x="19" y="243"/>
                  </a:lnTo>
                  <a:lnTo>
                    <a:pt x="29" y="216"/>
                  </a:lnTo>
                  <a:lnTo>
                    <a:pt x="44" y="191"/>
                  </a:lnTo>
                  <a:lnTo>
                    <a:pt x="62" y="171"/>
                  </a:lnTo>
                  <a:lnTo>
                    <a:pt x="85" y="156"/>
                  </a:lnTo>
                  <a:lnTo>
                    <a:pt x="112" y="143"/>
                  </a:lnTo>
                  <a:lnTo>
                    <a:pt x="140" y="133"/>
                  </a:lnTo>
                  <a:lnTo>
                    <a:pt x="172" y="127"/>
                  </a:lnTo>
                  <a:lnTo>
                    <a:pt x="206" y="126"/>
                  </a:lnTo>
                  <a:close/>
                  <a:moveTo>
                    <a:pt x="2510" y="0"/>
                  </a:moveTo>
                  <a:lnTo>
                    <a:pt x="2510" y="135"/>
                  </a:lnTo>
                  <a:lnTo>
                    <a:pt x="2594" y="135"/>
                  </a:lnTo>
                  <a:lnTo>
                    <a:pt x="2594" y="229"/>
                  </a:lnTo>
                  <a:lnTo>
                    <a:pt x="2510" y="229"/>
                  </a:lnTo>
                  <a:lnTo>
                    <a:pt x="2510" y="440"/>
                  </a:lnTo>
                  <a:lnTo>
                    <a:pt x="2511" y="459"/>
                  </a:lnTo>
                  <a:lnTo>
                    <a:pt x="2517" y="472"/>
                  </a:lnTo>
                  <a:lnTo>
                    <a:pt x="2525" y="481"/>
                  </a:lnTo>
                  <a:lnTo>
                    <a:pt x="2538" y="487"/>
                  </a:lnTo>
                  <a:lnTo>
                    <a:pt x="2553" y="489"/>
                  </a:lnTo>
                  <a:lnTo>
                    <a:pt x="2570" y="488"/>
                  </a:lnTo>
                  <a:lnTo>
                    <a:pt x="2585" y="486"/>
                  </a:lnTo>
                  <a:lnTo>
                    <a:pt x="2597" y="481"/>
                  </a:lnTo>
                  <a:lnTo>
                    <a:pt x="2597" y="579"/>
                  </a:lnTo>
                  <a:lnTo>
                    <a:pt x="2579" y="584"/>
                  </a:lnTo>
                  <a:lnTo>
                    <a:pt x="2555" y="587"/>
                  </a:lnTo>
                  <a:lnTo>
                    <a:pt x="2527" y="588"/>
                  </a:lnTo>
                  <a:lnTo>
                    <a:pt x="2493" y="586"/>
                  </a:lnTo>
                  <a:lnTo>
                    <a:pt x="2464" y="580"/>
                  </a:lnTo>
                  <a:lnTo>
                    <a:pt x="2439" y="570"/>
                  </a:lnTo>
                  <a:lnTo>
                    <a:pt x="2419" y="554"/>
                  </a:lnTo>
                  <a:lnTo>
                    <a:pt x="2403" y="535"/>
                  </a:lnTo>
                  <a:lnTo>
                    <a:pt x="2393" y="513"/>
                  </a:lnTo>
                  <a:lnTo>
                    <a:pt x="2386" y="485"/>
                  </a:lnTo>
                  <a:lnTo>
                    <a:pt x="2383" y="453"/>
                  </a:lnTo>
                  <a:lnTo>
                    <a:pt x="2383" y="229"/>
                  </a:lnTo>
                  <a:lnTo>
                    <a:pt x="2332" y="229"/>
                  </a:lnTo>
                  <a:lnTo>
                    <a:pt x="2332" y="135"/>
                  </a:lnTo>
                  <a:lnTo>
                    <a:pt x="2383" y="135"/>
                  </a:lnTo>
                  <a:lnTo>
                    <a:pt x="2383" y="52"/>
                  </a:lnTo>
                  <a:lnTo>
                    <a:pt x="25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283519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81000" y="1763713"/>
            <a:ext cx="11430000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dirty="0" smtClean="0"/>
            </a:lvl1pPr>
            <a:lvl2pPr marL="182875">
              <a:defRPr lang="en-US" sz="1600" dirty="0" smtClean="0"/>
            </a:lvl2pPr>
            <a:lvl3pPr marL="365751">
              <a:defRPr lang="en-US" sz="16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1295401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167031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0999" y="1803400"/>
            <a:ext cx="5553075" cy="4254500"/>
          </a:xfrm>
        </p:spPr>
        <p:txBody>
          <a:bodyPr/>
          <a:lstStyle>
            <a:lvl1pPr>
              <a:lnSpc>
                <a:spcPct val="80000"/>
              </a:lnSpc>
              <a:defRPr sz="5400" cap="all" baseline="0"/>
            </a:lvl1pPr>
          </a:lstStyle>
          <a:p>
            <a:r>
              <a:rPr lang="en-US"/>
              <a:t>SECTION INTRO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257925" y="1763714"/>
            <a:ext cx="5553075" cy="429418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dirty="0" smtClean="0"/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75131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1">
          <p15:clr>
            <a:srgbClr val="FBAE40"/>
          </p15:clr>
        </p15:guide>
        <p15:guide id="2" pos="374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257925" y="1763714"/>
            <a:ext cx="5553075" cy="429418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dirty="0" smtClean="0"/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" name="Group 35"/>
          <p:cNvGrpSpPr/>
          <p:nvPr userDrawn="1"/>
        </p:nvGrpSpPr>
        <p:grpSpPr>
          <a:xfrm>
            <a:off x="1828800" y="1676821"/>
            <a:ext cx="4105275" cy="4190699"/>
            <a:chOff x="336907" y="342900"/>
            <a:chExt cx="2298344" cy="2346169"/>
          </a:xfrm>
        </p:grpSpPr>
        <p:sp>
          <p:nvSpPr>
            <p:cNvPr id="6" name="Freeform 12"/>
            <p:cNvSpPr>
              <a:spLocks/>
            </p:cNvSpPr>
            <p:nvPr userDrawn="1"/>
          </p:nvSpPr>
          <p:spPr bwMode="auto">
            <a:xfrm>
              <a:off x="336907" y="1283172"/>
              <a:ext cx="2298344" cy="1405897"/>
            </a:xfrm>
            <a:custGeom>
              <a:avLst/>
              <a:gdLst>
                <a:gd name="T0" fmla="*/ 0 w 2495"/>
                <a:gd name="T1" fmla="*/ 961 h 1525"/>
                <a:gd name="T2" fmla="*/ 0 w 2495"/>
                <a:gd name="T3" fmla="*/ 961 h 1525"/>
                <a:gd name="T4" fmla="*/ 0 w 2495"/>
                <a:gd name="T5" fmla="*/ 1525 h 1525"/>
                <a:gd name="T6" fmla="*/ 2495 w 2495"/>
                <a:gd name="T7" fmla="*/ 512 h 1525"/>
                <a:gd name="T8" fmla="*/ 2495 w 2495"/>
                <a:gd name="T9" fmla="*/ 0 h 1525"/>
                <a:gd name="T10" fmla="*/ 0 w 2495"/>
                <a:gd name="T11" fmla="*/ 961 h 1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25">
                  <a:moveTo>
                    <a:pt x="0" y="961"/>
                  </a:moveTo>
                  <a:cubicBezTo>
                    <a:pt x="0" y="961"/>
                    <a:pt x="0" y="961"/>
                    <a:pt x="0" y="961"/>
                  </a:cubicBezTo>
                  <a:cubicBezTo>
                    <a:pt x="0" y="1525"/>
                    <a:pt x="0" y="1525"/>
                    <a:pt x="0" y="1525"/>
                  </a:cubicBezTo>
                  <a:cubicBezTo>
                    <a:pt x="2495" y="512"/>
                    <a:pt x="2495" y="512"/>
                    <a:pt x="2495" y="512"/>
                  </a:cubicBezTo>
                  <a:cubicBezTo>
                    <a:pt x="2495" y="0"/>
                    <a:pt x="2495" y="0"/>
                    <a:pt x="2495" y="0"/>
                  </a:cubicBezTo>
                  <a:lnTo>
                    <a:pt x="0" y="961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  <p:sp>
          <p:nvSpPr>
            <p:cNvPr id="7" name="Freeform 11"/>
            <p:cNvSpPr>
              <a:spLocks/>
            </p:cNvSpPr>
            <p:nvPr userDrawn="1"/>
          </p:nvSpPr>
          <p:spPr bwMode="auto">
            <a:xfrm>
              <a:off x="336907" y="342900"/>
              <a:ext cx="2298344" cy="1412213"/>
            </a:xfrm>
            <a:custGeom>
              <a:avLst/>
              <a:gdLst>
                <a:gd name="T0" fmla="*/ 2495 w 2495"/>
                <a:gd name="T1" fmla="*/ 1532 h 1532"/>
                <a:gd name="T2" fmla="*/ 2495 w 2495"/>
                <a:gd name="T3" fmla="*/ 1013 h 1532"/>
                <a:gd name="T4" fmla="*/ 0 w 2495"/>
                <a:gd name="T5" fmla="*/ 0 h 1532"/>
                <a:gd name="T6" fmla="*/ 0 w 2495"/>
                <a:gd name="T7" fmla="*/ 565 h 1532"/>
                <a:gd name="T8" fmla="*/ 2494 w 2495"/>
                <a:gd name="T9" fmla="*/ 1532 h 1532"/>
                <a:gd name="T10" fmla="*/ 2495 w 2495"/>
                <a:gd name="T11" fmla="*/ 1532 h 1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32">
                  <a:moveTo>
                    <a:pt x="2495" y="1532"/>
                  </a:moveTo>
                  <a:cubicBezTo>
                    <a:pt x="2495" y="1013"/>
                    <a:pt x="2495" y="1013"/>
                    <a:pt x="2495" y="10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65"/>
                    <a:pt x="0" y="565"/>
                    <a:pt x="0" y="565"/>
                  </a:cubicBezTo>
                  <a:cubicBezTo>
                    <a:pt x="812" y="880"/>
                    <a:pt x="1906" y="1304"/>
                    <a:pt x="2494" y="1532"/>
                  </a:cubicBezTo>
                  <a:lnTo>
                    <a:pt x="2495" y="153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0999" y="1803400"/>
            <a:ext cx="5553075" cy="4254500"/>
          </a:xfrm>
        </p:spPr>
        <p:txBody>
          <a:bodyPr anchor="ctr" anchorCtr="0"/>
          <a:lstStyle>
            <a:lvl1pPr>
              <a:lnSpc>
                <a:spcPct val="80000"/>
              </a:lnSpc>
              <a:defRPr sz="54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Master title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31199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80999" y="1763713"/>
            <a:ext cx="5553075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dirty="0" smtClean="0"/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257925" y="1763714"/>
            <a:ext cx="5553075" cy="429418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1295401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50676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&amp;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80999" y="1763729"/>
            <a:ext cx="3547493" cy="4294171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dirty="0" smtClean="0"/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8256657" y="1763713"/>
            <a:ext cx="3547493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4318828" y="1763713"/>
            <a:ext cx="3547493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93664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6">
          <p15:clr>
            <a:srgbClr val="FBAE40"/>
          </p15:clr>
        </p15:guide>
        <p15:guide id="2" pos="2479">
          <p15:clr>
            <a:srgbClr val="FBAE40"/>
          </p15:clr>
        </p15:guide>
        <p15:guide id="3" pos="4974">
          <p15:clr>
            <a:srgbClr val="FBAE40"/>
          </p15:clr>
        </p15:guide>
        <p15:guide id="4" pos="520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333750" y="1763713"/>
            <a:ext cx="2590800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81000" y="1763713"/>
            <a:ext cx="2590800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9239250" y="1763713"/>
            <a:ext cx="2590800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6286500" y="1763713"/>
            <a:ext cx="2590800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8368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pos="5586">
          <p15:clr>
            <a:srgbClr val="FBAE40"/>
          </p15:clr>
        </p15:guide>
        <p15:guide id="4" pos="5813">
          <p15:clr>
            <a:srgbClr val="FBAE40"/>
          </p15:clr>
        </p15:guide>
        <p15:guide id="5" pos="2094">
          <p15:clr>
            <a:srgbClr val="FBAE40"/>
          </p15:clr>
        </p15:guide>
        <p15:guide id="6" pos="186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501219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pic>
        <p:nvPicPr>
          <p:cNvPr id="5" name="Picture 4" hidden="1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-168620" y="1"/>
            <a:ext cx="12055819" cy="6857143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351571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5" y="1424518"/>
            <a:ext cx="7392828" cy="2502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022268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bg>
      <p:bgPr>
        <a:gradFill>
          <a:gsLst>
            <a:gs pos="0">
              <a:schemeClr val="accent3"/>
            </a:gs>
            <a:gs pos="100000">
              <a:schemeClr val="accent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887181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">
    <p:bg>
      <p:bgPr>
        <a:gradFill>
          <a:gsLst>
            <a:gs pos="100000">
              <a:schemeClr val="accent1"/>
            </a:gs>
            <a:gs pos="64000">
              <a:schemeClr val="accent3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899D8A-FE23-4DC1-8812-EA427C1B1D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5899D8A-FE23-4DC1-8812-EA427C1B1D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0A6284F9-4365-4306-A46C-5FAB997F5F9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3719880"/>
            <a:ext cx="9955742" cy="11510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7493587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DE521DD-F869-4942-ACAE-34C787B896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60680"/>
            <a:ext cx="11430000" cy="9906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sz="4000" b="0" i="0" cap="all" baseline="0">
                <a:solidFill>
                  <a:srgbClr val="000000"/>
                </a:solidFill>
                <a:latin typeface="Graphik Black" panose="020B0A03030202060203" pitchFamily="34" charset="0"/>
              </a:defRPr>
            </a:lvl1pPr>
          </a:lstStyle>
          <a:p>
            <a:pPr lvl="0" fontAlgn="base">
              <a:lnSpc>
                <a:spcPct val="80000"/>
              </a:lnSpc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  <a:latin typeface="Graphik Black" panose="020B0503030202060203" pitchFamily="34" charset="77"/>
                <a:cs typeface="Arial" panose="020B0604020202020204" pitchFamily="34" charset="0"/>
              </a:rPr>
              <a:t>INSERT MAIN TITLE AT 40PT MIN 30PT</a:t>
            </a:r>
          </a:p>
        </p:txBody>
      </p:sp>
    </p:spTree>
    <p:extLst>
      <p:ext uri="{BB962C8B-B14F-4D97-AF65-F5344CB8AC3E}">
        <p14:creationId xmlns:p14="http://schemas.microsoft.com/office/powerpoint/2010/main" val="24436994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8804" y="6546469"/>
            <a:ext cx="770951" cy="138499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 i="0">
                <a:solidFill>
                  <a:srgbClr val="5A5A5A"/>
                </a:solidFill>
                <a:latin typeface="Graphik" panose="020B0503030202060203" pitchFamily="34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60000" y="6546469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5A5A5A"/>
                </a:solidFill>
                <a:latin typeface="Graphik" panose="020B0503030202060203" pitchFamily="34" charset="0"/>
                <a:sym typeface="Graphik" panose="020B0503030202060203" pitchFamily="34" charset="0"/>
              </a:defRPr>
            </a:lvl1pPr>
          </a:lstStyle>
          <a:p>
            <a:pPr defTabSz="1087106"/>
            <a:r>
              <a:rPr lang="en-US"/>
              <a:t>Copyright © 2019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486436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74D1AAF-D369-4DD1-852D-5D66A17C7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"/>
            <a:ext cx="11430000" cy="1343024"/>
          </a:xfrm>
        </p:spPr>
        <p:txBody>
          <a:bodyPr tIns="0" anchor="b" anchorCtr="0">
            <a:noAutofit/>
          </a:bodyPr>
          <a:lstStyle>
            <a:lvl1pPr>
              <a:lnSpc>
                <a:spcPct val="80000"/>
              </a:lnSpc>
              <a:defRPr sz="3200">
                <a:solidFill>
                  <a:srgbClr val="7E00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C34ABF8-6417-4266-85FB-7678EEDC229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0" y="1343025"/>
            <a:ext cx="11430000" cy="5124450"/>
          </a:xfrm>
        </p:spPr>
        <p:txBody>
          <a:bodyPr>
            <a:normAutofit/>
          </a:bodyPr>
          <a:lstStyle>
            <a:lvl1pPr marL="0" indent="0">
              <a:lnSpc>
                <a:spcPts val="2000"/>
              </a:lnSpc>
              <a:spcAft>
                <a:spcPts val="1000"/>
              </a:spcAft>
              <a:buFont typeface="Arial" panose="020B0604020202020204" pitchFamily="34" charset="0"/>
              <a:buNone/>
              <a:defRPr sz="1800" b="0" cap="none">
                <a:latin typeface="+mj-lt"/>
              </a:defRPr>
            </a:lvl1pPr>
            <a:lvl2pPr marL="161925" indent="-161925">
              <a:lnSpc>
                <a:spcPts val="2000"/>
              </a:lnSpc>
              <a:spcAft>
                <a:spcPts val="1000"/>
              </a:spcAft>
              <a:buFont typeface="Arial" panose="020B0604020202020204" pitchFamily="34" charset="0"/>
              <a:buChar char="•"/>
              <a:defRPr sz="1800" b="0">
                <a:latin typeface="+mn-lt"/>
              </a:defRPr>
            </a:lvl2pPr>
            <a:lvl3pPr marL="352425" indent="-161925">
              <a:lnSpc>
                <a:spcPts val="2000"/>
              </a:lnSpc>
              <a:spcAft>
                <a:spcPts val="1000"/>
              </a:spcAft>
              <a:buFontTx/>
              <a:buChar char="-"/>
              <a:defRPr sz="1800" b="0">
                <a:latin typeface="+mn-lt"/>
              </a:defRPr>
            </a:lvl3pPr>
            <a:lvl4pPr marL="581025" indent="-161925">
              <a:lnSpc>
                <a:spcPts val="2000"/>
              </a:lnSpc>
              <a:spcAft>
                <a:spcPts val="1000"/>
              </a:spcAft>
              <a:buFont typeface="Arial" panose="020B0604020202020204" pitchFamily="34" charset="0"/>
              <a:buChar char="•"/>
              <a:defRPr sz="1800" b="0">
                <a:latin typeface="+mn-lt"/>
              </a:defRPr>
            </a:lvl4pPr>
            <a:lvl5pPr marL="733425" indent="-161925">
              <a:lnSpc>
                <a:spcPts val="2000"/>
              </a:lnSpc>
              <a:spcAft>
                <a:spcPts val="1000"/>
              </a:spcAft>
              <a:buFontTx/>
              <a:buChar char="-"/>
              <a:defRPr sz="1800" b="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66568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1000" y="381001"/>
            <a:ext cx="11430000" cy="12954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Graphik" panose="020B0503030202060203" pitchFamily="34" charset="0"/>
                <a:sym typeface="Graphik" panose="020B0503030202060203" pitchFamily="34" charset="0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CA03F2D7-2EF8-452B-B7E7-ECCBE598101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81000" y="1808163"/>
            <a:ext cx="11430000" cy="435768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 1</a:t>
            </a:r>
          </a:p>
          <a:p>
            <a:pPr lvl="1"/>
            <a:r>
              <a:rPr lang="en-US"/>
              <a:t>Text 2</a:t>
            </a:r>
          </a:p>
          <a:p>
            <a:pPr lvl="2"/>
            <a:r>
              <a:rPr lang="en-US"/>
              <a:t>Text 3</a:t>
            </a:r>
          </a:p>
          <a:p>
            <a:pPr lvl="3"/>
            <a:r>
              <a:rPr lang="en-US"/>
              <a:t>Text 4</a:t>
            </a:r>
          </a:p>
          <a:p>
            <a:pPr lvl="4"/>
            <a:r>
              <a:rPr lang="en-US"/>
              <a:t>Text 5</a:t>
            </a:r>
          </a:p>
        </p:txBody>
      </p:sp>
    </p:spTree>
    <p:extLst>
      <p:ext uri="{BB962C8B-B14F-4D97-AF65-F5344CB8AC3E}">
        <p14:creationId xmlns:p14="http://schemas.microsoft.com/office/powerpoint/2010/main" val="230795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16268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layout_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opyright ©2018 Accenture. All rights reserved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1000" y="1943099"/>
            <a:ext cx="5536800" cy="414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274200" y="1943099"/>
            <a:ext cx="5536800" cy="414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1451000" y="6525600"/>
            <a:ext cx="36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E1D7AC9-097A-C748-9CAF-08661848251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19791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F5F1FE0-C522-4A6E-9169-282B3139E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4092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F5F1FE0-C522-4A6E-9169-282B3139E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8AF954D-A8B5-45A8-B252-B4A5F33237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1" y="1828802"/>
            <a:ext cx="8572500" cy="4689475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5418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FB99C89-D81F-4096-9B0D-074C8C8541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9113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FB99C89-D81F-4096-9B0D-074C8C8541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EB1089-C912-46BF-BF90-738A542E5C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828802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9"/>
          </p:nvPr>
        </p:nvSpPr>
        <p:spPr>
          <a:xfrm>
            <a:off x="6096000" y="1828802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640251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8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77694929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737585-BAE7-4EF3-B6A4-D54E5E98AA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8820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737585-BAE7-4EF3-B6A4-D54E5E98AA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22DF0B-34FC-41FF-A525-CC056CFC22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59798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7935762-4394-48C3-90D0-57F2BC3284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4875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7935762-4394-48C3-90D0-57F2BC328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926C035-212C-48C8-A759-D72AC24022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1" y="1828802"/>
            <a:ext cx="8572500" cy="4689475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3827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1441B29-FD32-4D5E-87D7-C2BF459790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7071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1441B29-FD32-4D5E-87D7-C2BF459790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1FD49C5-8334-46EA-9817-324120800E8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828802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>
            <a:normAutofit/>
          </a:bodyPr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9"/>
          </p:nvPr>
        </p:nvSpPr>
        <p:spPr>
          <a:xfrm>
            <a:off x="6096000" y="1828802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142352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2C5F47-1F00-4FDA-BA0E-A1B49D2ED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1824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2C5F47-1F00-4FDA-BA0E-A1B49D2ED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20C6BF-CFFC-4D92-B428-054F2FB1D2D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04511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4152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: Black">
    <p:bg>
      <p:bgPr>
        <a:solidFill>
          <a:srgbClr val="7100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1" y="571500"/>
            <a:ext cx="8572500" cy="29718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8000" spc="-15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0999" y="3543300"/>
            <a:ext cx="8572501" cy="3162300"/>
          </a:xfrm>
        </p:spPr>
        <p:txBody>
          <a:bodyPr>
            <a:noAutofit/>
          </a:bodyPr>
          <a:lstStyle>
            <a:lvl1pPr marL="0" indent="0">
              <a:lnSpc>
                <a:spcPct val="65000"/>
              </a:lnSpc>
              <a:spcAft>
                <a:spcPts val="600"/>
              </a:spcAft>
              <a:defRPr sz="4400" b="0" spc="-150" baseline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defRPr sz="44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defRPr sz="2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None/>
              <a:defRPr sz="20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7pPr>
              <a:defRPr b="1"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 err="1"/>
              <a:t>fIrst</a:t>
            </a:r>
            <a:r>
              <a:rPr lang="en-US"/>
              <a:t>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04919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EC8FDB24-DF8F-4ACC-9487-5B599DD42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F0D011F8-5DD5-49BB-8B51-5066959FD3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1002" y="6519009"/>
            <a:ext cx="5714999" cy="206375"/>
          </a:xfrm>
        </p:spPr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9A7E7AF2-3963-4B36-A6FC-0A394B8B1D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2" y="6519009"/>
            <a:ext cx="304799" cy="206375"/>
          </a:xfrm>
        </p:spPr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53522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en-US"/>
              <a:t>| [IBM P9 Power Business Case] | [June 2019]</a:t>
            </a:r>
            <a:endParaRPr lang="fr-FR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8681408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en-US"/>
              <a:t>| [IBM P9 Power Business Case] | [June 2019]</a:t>
            </a:r>
            <a:endParaRPr lang="fr-FR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830840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en-US"/>
              <a:t>| [IBM P9 Power Business Case] | [June 2019]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7"/>
            <a:ext cx="7392828" cy="2502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2560101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7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27165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en-US"/>
              <a:t>| [IBM P9 Power Business Case] | [June 2019]</a:t>
            </a:r>
            <a:endParaRPr lang="fr-FR"/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0449262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0328912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43C6D98-1722-4E05-929E-AB343311CA2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435978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6" name="Round Diagonal Corner Rectangle 4">
            <a:extLst>
              <a:ext uri="{FF2B5EF4-FFF2-40B4-BE49-F238E27FC236}">
                <a16:creationId xmlns:a16="http://schemas.microsoft.com/office/drawing/2014/main" id="{A8CD0164-38F9-45E8-BBCE-ACF9D4084AC5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45BF049-76A9-444A-BE2F-250E572948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220775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3172" y="340801"/>
            <a:ext cx="2063109" cy="610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62375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7EF46B65-58C7-4BF4-B402-D21DCC45562C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4769A89-F694-4BC2-B8EA-1E2093D69AA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4"/>
            <a:ext cx="1537609" cy="68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56244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499534-3473-4E22-AB07-600AA3C32E6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46931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9" name="Round Diagonal Corner Rectangle 4">
            <a:extLst>
              <a:ext uri="{FF2B5EF4-FFF2-40B4-BE49-F238E27FC236}">
                <a16:creationId xmlns:a16="http://schemas.microsoft.com/office/drawing/2014/main" id="{DE53115C-105A-4CE7-BEF2-2D7D7A9604F8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1A4C1D0B-5407-4DAA-8724-B6778E12A96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460700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3172" y="340801"/>
            <a:ext cx="2063109" cy="610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408726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398777761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40135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146440307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3" y="141183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3" y="3467420"/>
            <a:ext cx="5378452" cy="69249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/>
          <a:srcRect l="7480" t="27066" r="32612"/>
          <a:stretch/>
        </p:blipFill>
        <p:spPr>
          <a:xfrm rot="16200000" flipV="1">
            <a:off x="6262073" y="928079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5671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375" y="1411818"/>
            <a:ext cx="11331253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28BD2D4-1074-48E5-B298-9D0D7BA2922A}" type="datetime1">
              <a:rPr lang="en-US">
                <a:solidFill>
                  <a:srgbClr val="000000"/>
                </a:solidFill>
              </a:rPr>
              <a:pPr>
                <a:defRPr/>
              </a:pPr>
              <a:t>11/1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C2C5EFB-4D23-4208-8647-3E7A700FE29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397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image" Target="../media/image10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oleObject" Target="../embeddings/oleObject8.bin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ags" Target="../tags/tag12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tags" Target="../tags/tag11.xml"/><Relationship Id="rId5" Type="http://schemas.openxmlformats.org/officeDocument/2006/relationships/slideLayout" Target="../slideLayouts/slideLayout4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image" Target="../media/image13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2" y="6320503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1030417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745" r:id="rId9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3270660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1" imgW="425" imgH="426" progId="TCLayout.ActiveDocument.1">
                  <p:embed/>
                </p:oleObj>
              </mc:Choice>
              <mc:Fallback>
                <p:oleObj name="think-cell Folie" r:id="rId21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D46ED98-0623-47E6-9825-23D46E43767A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1295401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763713"/>
            <a:ext cx="11430000" cy="4686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 1</a:t>
            </a:r>
          </a:p>
          <a:p>
            <a:pPr lvl="1"/>
            <a:r>
              <a:rPr lang="en-US"/>
              <a:t>Text 2</a:t>
            </a:r>
          </a:p>
          <a:p>
            <a:pPr lvl="2"/>
            <a:r>
              <a:rPr lang="en-US"/>
              <a:t>Text 3</a:t>
            </a:r>
          </a:p>
          <a:p>
            <a:pPr lvl="3"/>
            <a:r>
              <a:rPr lang="en-US"/>
              <a:t>Text 4</a:t>
            </a:r>
          </a:p>
          <a:p>
            <a:pPr lvl="4"/>
            <a:r>
              <a:rPr lang="en-US"/>
              <a:t>Text 5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2619" y="6381686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lang="en-AU" sz="900" b="0" i="0">
                <a:solidFill>
                  <a:schemeClr val="tx2"/>
                </a:solidFill>
              </a:defRPr>
            </a:lvl1pPr>
          </a:lstStyle>
          <a:p>
            <a:pPr defTabSz="1087106"/>
            <a:r>
              <a:rPr lang="en-US">
                <a:solidFill>
                  <a:srgbClr val="919191"/>
                </a:solidFill>
              </a:rPr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12300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0" kern="1200" cap="all" spc="-1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0" kern="1200" cap="all" baseline="0">
          <a:solidFill>
            <a:schemeClr val="accent3"/>
          </a:solidFill>
          <a:latin typeface="+mj-lt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7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07715E0-5BB1-41A4-9224-1A3DEB59DB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35974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07715E0-5BB1-41A4-9224-1A3DEB59DB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AC646FF-B4AE-4ABA-BC44-1E567697D54E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opyright © 2019 Accenture.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843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</p:sldLayoutIdLst>
  <p:hf hdr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1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>
          <p15:clr>
            <a:srgbClr val="F26B43"/>
          </p15:clr>
        </p15:guide>
        <p15:guide id="2" pos="5640">
          <p15:clr>
            <a:srgbClr val="F26B43"/>
          </p15:clr>
        </p15:guide>
        <p15:guide id="3">
          <p15:clr>
            <a:srgbClr val="F26B43"/>
          </p15:clr>
        </p15:guide>
        <p15:guide id="6" orient="horz">
          <p15:clr>
            <a:srgbClr val="F26B43"/>
          </p15:clr>
        </p15:guide>
        <p15:guide id="8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10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en-US"/>
              <a:t>| [IBM P9 Power Business Case] | [June 2019]</a:t>
            </a:r>
            <a:endParaRPr lang="fr-FR"/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 userDrawn="1"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fr-FR" sz="1467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2000181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</p:sldLayoutIdLst>
  <p:transition>
    <p:fade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tags" Target="../tags/tag50.xml"/><Relationship Id="rId39" Type="http://schemas.openxmlformats.org/officeDocument/2006/relationships/notesSlide" Target="../notesSlides/notesSlide3.xml"/><Relationship Id="rId3" Type="http://schemas.openxmlformats.org/officeDocument/2006/relationships/tags" Target="../tags/tag27.xml"/><Relationship Id="rId21" Type="http://schemas.openxmlformats.org/officeDocument/2006/relationships/tags" Target="../tags/tag45.xml"/><Relationship Id="rId34" Type="http://schemas.openxmlformats.org/officeDocument/2006/relationships/tags" Target="../tags/tag58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tags" Target="../tags/tag49.xml"/><Relationship Id="rId33" Type="http://schemas.openxmlformats.org/officeDocument/2006/relationships/tags" Target="../tags/tag57.xml"/><Relationship Id="rId38" Type="http://schemas.openxmlformats.org/officeDocument/2006/relationships/slideLayout" Target="../slideLayouts/slideLayout1.xml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29" Type="http://schemas.openxmlformats.org/officeDocument/2006/relationships/tags" Target="../tags/tag53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24" Type="http://schemas.openxmlformats.org/officeDocument/2006/relationships/tags" Target="../tags/tag48.xml"/><Relationship Id="rId32" Type="http://schemas.openxmlformats.org/officeDocument/2006/relationships/tags" Target="../tags/tag56.xml"/><Relationship Id="rId37" Type="http://schemas.openxmlformats.org/officeDocument/2006/relationships/tags" Target="../tags/tag61.xml"/><Relationship Id="rId40" Type="http://schemas.openxmlformats.org/officeDocument/2006/relationships/image" Target="../media/image24.png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28" Type="http://schemas.openxmlformats.org/officeDocument/2006/relationships/tags" Target="../tags/tag52.xml"/><Relationship Id="rId36" Type="http://schemas.openxmlformats.org/officeDocument/2006/relationships/tags" Target="../tags/tag60.xml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31" Type="http://schemas.openxmlformats.org/officeDocument/2006/relationships/tags" Target="../tags/tag55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tags" Target="../tags/tag51.xml"/><Relationship Id="rId30" Type="http://schemas.openxmlformats.org/officeDocument/2006/relationships/tags" Target="../tags/tag54.xml"/><Relationship Id="rId35" Type="http://schemas.openxmlformats.org/officeDocument/2006/relationships/tags" Target="../tags/tag5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E005B2-3512-4AD4-BA08-567DC24E47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30" y="84621"/>
            <a:ext cx="11329827" cy="574516"/>
          </a:xfrm>
        </p:spPr>
        <p:txBody>
          <a:bodyPr/>
          <a:lstStyle/>
          <a:p>
            <a:r>
              <a:rPr lang="en-GB" dirty="0"/>
              <a:t>Future High Level Archite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FABB2E2-46B7-40C0-82C1-108DC61D2E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8300" y="657225"/>
            <a:ext cx="8915400" cy="5543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9952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E005B2-3512-4AD4-BA08-567DC24E47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16" y="84623"/>
            <a:ext cx="11329827" cy="574516"/>
          </a:xfrm>
        </p:spPr>
        <p:txBody>
          <a:bodyPr/>
          <a:lstStyle/>
          <a:p>
            <a:r>
              <a:rPr lang="en-GB" dirty="0"/>
              <a:t>Future Detail Architectu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65D7CD8-175D-4C4B-B9DC-4DAF2C7783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8775" y="155575"/>
            <a:ext cx="8934450" cy="6546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6899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Rectangle 260">
            <a:extLst>
              <a:ext uri="{FF2B5EF4-FFF2-40B4-BE49-F238E27FC236}">
                <a16:creationId xmlns:a16="http://schemas.microsoft.com/office/drawing/2014/main" id="{C97E4443-00D8-445E-88F0-59AF6CF609DB}"/>
              </a:ext>
            </a:extLst>
          </p:cNvPr>
          <p:cNvSpPr/>
          <p:nvPr/>
        </p:nvSpPr>
        <p:spPr>
          <a:xfrm>
            <a:off x="10273738" y="270535"/>
            <a:ext cx="1817593" cy="28713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wrap="square" lIns="121920" tIns="0" rIns="0" bIns="0">
            <a:spAutoFit/>
          </a:bodyPr>
          <a:lstStyle/>
          <a:p>
            <a:pPr defTabSz="1219140">
              <a:buClr>
                <a:srgbClr val="55555A"/>
              </a:buClr>
              <a:defRPr/>
            </a:pPr>
            <a:r>
              <a:rPr lang="en-US" sz="933" dirty="0">
                <a:solidFill>
                  <a:srgbClr val="C800A1">
                    <a:lumMod val="60000"/>
                    <a:lumOff val="40000"/>
                  </a:srgbClr>
                </a:solidFill>
                <a:latin typeface="Arial"/>
                <a:ea typeface="ＭＳ Ｐゴシック"/>
              </a:rPr>
              <a:t>IAM </a:t>
            </a:r>
          </a:p>
          <a:p>
            <a:pPr defTabSz="1219140">
              <a:buClr>
                <a:srgbClr val="55555A"/>
              </a:buClr>
              <a:defRPr/>
            </a:pPr>
            <a:r>
              <a:rPr lang="en-US" sz="933" dirty="0">
                <a:solidFill>
                  <a:srgbClr val="00AFF0"/>
                </a:solidFill>
                <a:latin typeface="Arial"/>
                <a:ea typeface="ＭＳ Ｐゴシック"/>
              </a:rPr>
              <a:t>Workforce Data Domain (WDD)</a:t>
            </a:r>
            <a:endParaRPr lang="en-US" sz="933" dirty="0">
              <a:solidFill>
                <a:srgbClr val="00148C"/>
              </a:solidFill>
              <a:latin typeface="Arial"/>
              <a:ea typeface="ＭＳ Ｐゴシック"/>
            </a:endParaRP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2CA45006-2609-44FB-A183-311DEE2661C9}"/>
              </a:ext>
            </a:extLst>
          </p:cNvPr>
          <p:cNvSpPr txBox="1"/>
          <p:nvPr/>
        </p:nvSpPr>
        <p:spPr bwMode="auto">
          <a:xfrm>
            <a:off x="10255812" y="120462"/>
            <a:ext cx="1359346" cy="143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1219140">
              <a:buClr>
                <a:srgbClr val="55555A"/>
              </a:buClr>
              <a:defRPr/>
            </a:pPr>
            <a:r>
              <a:rPr lang="en-US" sz="933" dirty="0">
                <a:solidFill>
                  <a:srgbClr val="55555A"/>
                </a:solidFill>
                <a:latin typeface="Arial"/>
                <a:ea typeface="ＭＳ Ｐゴシック"/>
              </a:rPr>
              <a:t>Delivery / Value Streams:</a:t>
            </a:r>
          </a:p>
        </p:txBody>
      </p:sp>
      <p:sp>
        <p:nvSpPr>
          <p:cNvPr id="85" name="OTLSHAPE_SL_f6ffadc9780a4f3ab22a7e53bade919d_BackgroundRectangle">
            <a:extLst>
              <a:ext uri="{FF2B5EF4-FFF2-40B4-BE49-F238E27FC236}">
                <a16:creationId xmlns:a16="http://schemas.microsoft.com/office/drawing/2014/main" id="{58B7720C-BF08-4AEE-BE09-226A0766CD3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21557" y="5421374"/>
            <a:ext cx="11953095" cy="779209"/>
          </a:xfrm>
          <a:prstGeom prst="rect">
            <a:avLst/>
          </a:prstGeom>
          <a:solidFill>
            <a:schemeClr val="accent4">
              <a:lumMod val="60000"/>
              <a:lumOff val="40000"/>
              <a:alpha val="9804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86" name="OTLSHAPE_SL_f6ffadc9780a4f3ab22a7e53bade919d_BackgroundRectangle">
            <a:extLst>
              <a:ext uri="{FF2B5EF4-FFF2-40B4-BE49-F238E27FC236}">
                <a16:creationId xmlns:a16="http://schemas.microsoft.com/office/drawing/2014/main" id="{23E89D2D-6E3A-4930-94FB-9A41F46C755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8363" y="4637647"/>
            <a:ext cx="11953095" cy="754260"/>
          </a:xfrm>
          <a:prstGeom prst="rect">
            <a:avLst/>
          </a:prstGeom>
          <a:solidFill>
            <a:schemeClr val="accent4">
              <a:lumMod val="60000"/>
              <a:lumOff val="40000"/>
              <a:alpha val="9804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87" name="OTLSHAPE_SLT_e8a0d0690d7843edaca796e8b25719da_Shape">
            <a:extLst>
              <a:ext uri="{FF2B5EF4-FFF2-40B4-BE49-F238E27FC236}">
                <a16:creationId xmlns:a16="http://schemas.microsoft.com/office/drawing/2014/main" id="{66DCC5A3-3370-4055-B4D2-BD637B47D6C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4350" y="4800446"/>
            <a:ext cx="11953093" cy="152823"/>
          </a:xfrm>
          <a:prstGeom prst="homePlate">
            <a:avLst/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40">
              <a:buClr>
                <a:srgbClr val="55555A"/>
              </a:buClr>
              <a:defRPr/>
            </a:pPr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 MDM/DQ/DG</a:t>
            </a:r>
          </a:p>
        </p:txBody>
      </p:sp>
      <p:sp>
        <p:nvSpPr>
          <p:cNvPr id="88" name="OTLSHAPE_SLT_e8a0d0690d7843edaca796e8b25719da_Shape">
            <a:extLst>
              <a:ext uri="{FF2B5EF4-FFF2-40B4-BE49-F238E27FC236}">
                <a16:creationId xmlns:a16="http://schemas.microsoft.com/office/drawing/2014/main" id="{EE28E206-2224-4825-91D0-F72341AC6F3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4350" y="5594408"/>
            <a:ext cx="11953093" cy="168259"/>
          </a:xfrm>
          <a:prstGeom prst="homePlat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40">
              <a:buClr>
                <a:srgbClr val="55555A"/>
              </a:buClr>
              <a:defRPr/>
            </a:pPr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CDP (Snowflake)</a:t>
            </a:r>
          </a:p>
        </p:txBody>
      </p:sp>
      <p:sp>
        <p:nvSpPr>
          <p:cNvPr id="89" name="OTLSHAPE_SLM_0aec949068fc4edb9016a17022f2fa0f_Title">
            <a:extLst>
              <a:ext uri="{FF2B5EF4-FFF2-40B4-BE49-F238E27FC236}">
                <a16:creationId xmlns:a16="http://schemas.microsoft.com/office/drawing/2014/main" id="{564FC827-9F84-47B9-85BD-64944536BA3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915365" y="4640194"/>
            <a:ext cx="870876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933" spc="-3" dirty="0">
                <a:solidFill>
                  <a:srgbClr val="55555A"/>
                </a:solidFill>
                <a:latin typeface="Calibri" panose="020F0502020204030204" pitchFamily="34" charset="0"/>
                <a:ea typeface="ＭＳ Ｐゴシック"/>
              </a:rPr>
              <a:t>Pre-work</a:t>
            </a:r>
          </a:p>
        </p:txBody>
      </p:sp>
      <p:sp>
        <p:nvSpPr>
          <p:cNvPr id="91" name="OTLSHAPE_SLM_0aec949068fc4edb9016a17022f2fa0f_Shape">
            <a:extLst>
              <a:ext uri="{FF2B5EF4-FFF2-40B4-BE49-F238E27FC236}">
                <a16:creationId xmlns:a16="http://schemas.microsoft.com/office/drawing/2014/main" id="{46022D4B-E9CE-4FC8-868F-65DA66BF89F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276311" y="4796596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93" name="OTLSHAPE_SLM_0aec949068fc4edb9016a17022f2fa0f_Shape">
            <a:extLst>
              <a:ext uri="{FF2B5EF4-FFF2-40B4-BE49-F238E27FC236}">
                <a16:creationId xmlns:a16="http://schemas.microsoft.com/office/drawing/2014/main" id="{0A6B3A5E-9C47-48DD-BE68-2D214E3270D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996224" y="5586757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94" name="OTLSHAPE_SL_f6ffadc9780a4f3ab22a7e53bade919d_BackgroundRectangle">
            <a:extLst>
              <a:ext uri="{FF2B5EF4-FFF2-40B4-BE49-F238E27FC236}">
                <a16:creationId xmlns:a16="http://schemas.microsoft.com/office/drawing/2014/main" id="{2299157D-A076-46A3-BD41-6DAEFE145D5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08039" y="2006429"/>
            <a:ext cx="11913632" cy="2583023"/>
          </a:xfrm>
          <a:prstGeom prst="rect">
            <a:avLst/>
          </a:prstGeom>
          <a:solidFill>
            <a:schemeClr val="accent4">
              <a:lumMod val="60000"/>
              <a:lumOff val="40000"/>
              <a:alpha val="9804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412CA404-6760-4856-B524-FC7EB8EFB4B2}"/>
              </a:ext>
            </a:extLst>
          </p:cNvPr>
          <p:cNvCxnSpPr>
            <a:cxnSpLocks/>
            <a:stCxn id="96" idx="2"/>
            <a:endCxn id="170" idx="2"/>
          </p:cNvCxnSpPr>
          <p:nvPr/>
        </p:nvCxnSpPr>
        <p:spPr bwMode="auto">
          <a:xfrm>
            <a:off x="8279632" y="1489572"/>
            <a:ext cx="26877" cy="427094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6" name="OTLSHAPE_SLM_0aec949068fc4edb9016a17022f2fa0f_Title">
            <a:extLst>
              <a:ext uri="{FF2B5EF4-FFF2-40B4-BE49-F238E27FC236}">
                <a16:creationId xmlns:a16="http://schemas.microsoft.com/office/drawing/2014/main" id="{22D62F15-0863-4255-B34F-50EE6B8E38F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693706" y="1325360"/>
            <a:ext cx="1171852" cy="16421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1067" spc="-3" dirty="0">
                <a:solidFill>
                  <a:srgbClr val="55555A"/>
                </a:solidFill>
                <a:latin typeface="Arial"/>
                <a:ea typeface="ＭＳ Ｐゴシック"/>
              </a:rPr>
              <a:t>MVP Release 3</a:t>
            </a:r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EF02C180-CD4F-4FD3-A882-D51501373911}"/>
              </a:ext>
            </a:extLst>
          </p:cNvPr>
          <p:cNvCxnSpPr>
            <a:cxnSpLocks/>
            <a:stCxn id="100" idx="2"/>
          </p:cNvCxnSpPr>
          <p:nvPr/>
        </p:nvCxnSpPr>
        <p:spPr bwMode="auto">
          <a:xfrm>
            <a:off x="3516117" y="1640581"/>
            <a:ext cx="37393" cy="382506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0" name="OTLSHAPE_SLM_0aec949068fc4edb9016a17022f2fa0f_Title">
            <a:extLst>
              <a:ext uri="{FF2B5EF4-FFF2-40B4-BE49-F238E27FC236}">
                <a16:creationId xmlns:a16="http://schemas.microsoft.com/office/drawing/2014/main" id="{C1B1957A-29B6-412E-B4A7-62E95C9DF44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079492" y="1302025"/>
            <a:ext cx="873249" cy="33855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 defTabSz="1219140">
              <a:buClr>
                <a:srgbClr val="55555A"/>
              </a:buClr>
              <a:defRPr/>
            </a:pPr>
            <a:endParaRPr lang="en-US" sz="1067" spc="-3" dirty="0">
              <a:solidFill>
                <a:srgbClr val="55555A"/>
              </a:solidFill>
              <a:latin typeface="Arial"/>
              <a:ea typeface="ＭＳ Ｐゴシック"/>
            </a:endParaRPr>
          </a:p>
          <a:p>
            <a:pPr algn="ctr" defTabSz="1219140">
              <a:buClr>
                <a:srgbClr val="55555A"/>
              </a:buClr>
              <a:defRPr/>
            </a:pPr>
            <a:r>
              <a:rPr lang="en-US" sz="933" spc="-3" dirty="0">
                <a:solidFill>
                  <a:srgbClr val="55555A"/>
                </a:solidFill>
                <a:latin typeface="Arial"/>
                <a:ea typeface="ＭＳ Ｐゴシック"/>
              </a:rPr>
              <a:t>(WDD Phase 1)</a:t>
            </a:r>
          </a:p>
        </p:txBody>
      </p:sp>
      <p:sp>
        <p:nvSpPr>
          <p:cNvPr id="103" name="OTLSHAPE_SLM_0aec949068fc4edb9016a17022f2fa0f_Title">
            <a:extLst>
              <a:ext uri="{FF2B5EF4-FFF2-40B4-BE49-F238E27FC236}">
                <a16:creationId xmlns:a16="http://schemas.microsoft.com/office/drawing/2014/main" id="{62324F70-0F3D-49E7-BDAD-AE0AF4C7464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989888" y="1269380"/>
            <a:ext cx="963221" cy="38654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1067" spc="-3" dirty="0">
                <a:solidFill>
                  <a:srgbClr val="55555A"/>
                </a:solidFill>
                <a:latin typeface="Arial"/>
                <a:ea typeface="ＭＳ Ｐゴシック"/>
              </a:rPr>
              <a:t>MVP Release 2</a:t>
            </a:r>
          </a:p>
          <a:p>
            <a:pPr algn="ctr" defTabSz="1219140">
              <a:buClr>
                <a:srgbClr val="55555A"/>
              </a:buClr>
              <a:defRPr/>
            </a:pPr>
            <a:r>
              <a:rPr lang="en-US" sz="933" spc="-3" dirty="0">
                <a:solidFill>
                  <a:srgbClr val="55555A"/>
                </a:solidFill>
                <a:latin typeface="Arial"/>
                <a:ea typeface="ＭＳ Ｐゴシック"/>
              </a:rPr>
              <a:t>(WDD Phase 3)</a:t>
            </a: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BA1214A6-3BEC-4558-A81D-F66A686FB901}"/>
              </a:ext>
            </a:extLst>
          </p:cNvPr>
          <p:cNvCxnSpPr>
            <a:cxnSpLocks/>
            <a:stCxn id="108" idx="2"/>
          </p:cNvCxnSpPr>
          <p:nvPr/>
        </p:nvCxnSpPr>
        <p:spPr bwMode="auto">
          <a:xfrm>
            <a:off x="4986710" y="1630306"/>
            <a:ext cx="78700" cy="413020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8" name="OTLSHAPE_SLM_0aec949068fc4edb9016a17022f2fa0f_Title">
            <a:extLst>
              <a:ext uri="{FF2B5EF4-FFF2-40B4-BE49-F238E27FC236}">
                <a16:creationId xmlns:a16="http://schemas.microsoft.com/office/drawing/2014/main" id="{D5409082-9816-41A2-B697-E40378C12BB3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493672" y="1285067"/>
            <a:ext cx="986075" cy="34523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1067" spc="-3" dirty="0">
                <a:solidFill>
                  <a:srgbClr val="55555A"/>
                </a:solidFill>
                <a:latin typeface="Arial"/>
                <a:ea typeface="ＭＳ Ｐゴシック"/>
              </a:rPr>
              <a:t>MVP Release 1</a:t>
            </a:r>
          </a:p>
          <a:p>
            <a:pPr algn="ctr" defTabSz="1219140">
              <a:buClr>
                <a:srgbClr val="55555A"/>
              </a:buClr>
              <a:defRPr/>
            </a:pPr>
            <a:r>
              <a:rPr lang="en-US" sz="933" spc="-3" dirty="0">
                <a:solidFill>
                  <a:srgbClr val="55555A"/>
                </a:solidFill>
                <a:latin typeface="Arial"/>
                <a:ea typeface="ＭＳ Ｐゴシック"/>
              </a:rPr>
              <a:t>(WDD Phase 2)</a:t>
            </a:r>
          </a:p>
        </p:txBody>
      </p:sp>
      <p:sp>
        <p:nvSpPr>
          <p:cNvPr id="109" name="OTLSHAPE_SLT_e8a0d0690d7843edaca796e8b25719da_Shape">
            <a:extLst>
              <a:ext uri="{FF2B5EF4-FFF2-40B4-BE49-F238E27FC236}">
                <a16:creationId xmlns:a16="http://schemas.microsoft.com/office/drawing/2014/main" id="{2953D0EA-F607-44B6-856D-D89D1279B2A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70330" y="1810131"/>
            <a:ext cx="11904321" cy="165015"/>
          </a:xfrm>
          <a:prstGeom prst="homePlate">
            <a:avLst/>
          </a:prstGeom>
          <a:solidFill>
            <a:schemeClr val="tx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40">
              <a:buClr>
                <a:srgbClr val="55555A"/>
              </a:buClr>
              <a:defRPr/>
            </a:pPr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Data Integration</a:t>
            </a:r>
          </a:p>
        </p:txBody>
      </p:sp>
      <p:pic>
        <p:nvPicPr>
          <p:cNvPr id="112" name="Picture 111">
            <a:extLst>
              <a:ext uri="{FF2B5EF4-FFF2-40B4-BE49-F238E27FC236}">
                <a16:creationId xmlns:a16="http://schemas.microsoft.com/office/drawing/2014/main" id="{4285F70D-BE35-4862-8B85-ECD565716458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4885898" y="2032910"/>
            <a:ext cx="189572" cy="186247"/>
          </a:xfrm>
          <a:prstGeom prst="rect">
            <a:avLst/>
          </a:prstGeom>
        </p:spPr>
      </p:pic>
      <p:sp>
        <p:nvSpPr>
          <p:cNvPr id="113" name="OTLSHAPE_SLM_0aec949068fc4edb9016a17022f2fa0f_Shape">
            <a:extLst>
              <a:ext uri="{FF2B5EF4-FFF2-40B4-BE49-F238E27FC236}">
                <a16:creationId xmlns:a16="http://schemas.microsoft.com/office/drawing/2014/main" id="{491ECB5D-8302-494E-AEB2-7DA0C35521AF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4913009" y="1934325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114" name="Picture 113">
            <a:extLst>
              <a:ext uri="{FF2B5EF4-FFF2-40B4-BE49-F238E27FC236}">
                <a16:creationId xmlns:a16="http://schemas.microsoft.com/office/drawing/2014/main" id="{5EC633B8-A309-4EC8-937A-E1ED19D56A67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8179279" y="2032910"/>
            <a:ext cx="189572" cy="186247"/>
          </a:xfrm>
          <a:prstGeom prst="rect">
            <a:avLst/>
          </a:prstGeom>
        </p:spPr>
      </p:pic>
      <p:sp>
        <p:nvSpPr>
          <p:cNvPr id="115" name="OTLSHAPE_SLM_0aec949068fc4edb9016a17022f2fa0f_Shape">
            <a:extLst>
              <a:ext uri="{FF2B5EF4-FFF2-40B4-BE49-F238E27FC236}">
                <a16:creationId xmlns:a16="http://schemas.microsoft.com/office/drawing/2014/main" id="{8C261054-4FB8-4296-A678-EBBD47B83F8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203009" y="1934325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117" name="Picture 116">
            <a:extLst>
              <a:ext uri="{FF2B5EF4-FFF2-40B4-BE49-F238E27FC236}">
                <a16:creationId xmlns:a16="http://schemas.microsoft.com/office/drawing/2014/main" id="{C931BD4D-C8DC-4673-9960-C02E04732356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1517101" y="2020947"/>
            <a:ext cx="189572" cy="186247"/>
          </a:xfrm>
          <a:prstGeom prst="rect">
            <a:avLst/>
          </a:prstGeom>
        </p:spPr>
      </p:pic>
      <p:sp>
        <p:nvSpPr>
          <p:cNvPr id="118" name="OTLSHAPE_SLM_0aec949068fc4edb9016a17022f2fa0f_Shape">
            <a:extLst>
              <a:ext uri="{FF2B5EF4-FFF2-40B4-BE49-F238E27FC236}">
                <a16:creationId xmlns:a16="http://schemas.microsoft.com/office/drawing/2014/main" id="{0875427D-EB51-40AA-8C1B-ECB45D96B17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542100" y="1922364"/>
            <a:ext cx="152400" cy="177800"/>
          </a:xfrm>
          <a:prstGeom prst="diamond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19" name="OTLSHAPE_SLM_0aec949068fc4edb9016a17022f2fa0f_Shape">
            <a:extLst>
              <a:ext uri="{FF2B5EF4-FFF2-40B4-BE49-F238E27FC236}">
                <a16:creationId xmlns:a16="http://schemas.microsoft.com/office/drawing/2014/main" id="{051689E2-F393-4C0C-9FC1-2E1D2E1D6C6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4984512" y="4806192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148D4FFA-184E-4726-B439-AD125DC9E550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3421554" y="2049619"/>
            <a:ext cx="189572" cy="186247"/>
          </a:xfrm>
          <a:prstGeom prst="rect">
            <a:avLst/>
          </a:prstGeom>
        </p:spPr>
      </p:pic>
      <p:sp>
        <p:nvSpPr>
          <p:cNvPr id="121" name="OTLSHAPE_SLM_0aec949068fc4edb9016a17022f2fa0f_Shape">
            <a:extLst>
              <a:ext uri="{FF2B5EF4-FFF2-40B4-BE49-F238E27FC236}">
                <a16:creationId xmlns:a16="http://schemas.microsoft.com/office/drawing/2014/main" id="{D3069606-8E64-4DEB-BC9B-B81B417532A8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3445285" y="1951036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122" name="Picture 121">
            <a:extLst>
              <a:ext uri="{FF2B5EF4-FFF2-40B4-BE49-F238E27FC236}">
                <a16:creationId xmlns:a16="http://schemas.microsoft.com/office/drawing/2014/main" id="{8E17E5B1-FE00-489C-9BB2-D47F15BC4394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2442451" y="2028161"/>
            <a:ext cx="189572" cy="186247"/>
          </a:xfrm>
          <a:prstGeom prst="rect">
            <a:avLst/>
          </a:prstGeom>
        </p:spPr>
      </p:pic>
      <p:sp>
        <p:nvSpPr>
          <p:cNvPr id="123" name="OTLSHAPE_SLM_0aec949068fc4edb9016a17022f2fa0f_Shape">
            <a:extLst>
              <a:ext uri="{FF2B5EF4-FFF2-40B4-BE49-F238E27FC236}">
                <a16:creationId xmlns:a16="http://schemas.microsoft.com/office/drawing/2014/main" id="{B70E7539-752A-4C29-B2E6-EA78A1CC0050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2467448" y="1929576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24" name="OTLSHAPE_SLM_0aec949068fc4edb9016a17022f2fa0f_Title">
            <a:extLst>
              <a:ext uri="{FF2B5EF4-FFF2-40B4-BE49-F238E27FC236}">
                <a16:creationId xmlns:a16="http://schemas.microsoft.com/office/drawing/2014/main" id="{73A84B22-1080-47FE-9B1D-039C82035D7D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5852310" y="4980578"/>
            <a:ext cx="1351164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088211">
              <a:defRPr/>
            </a:pPr>
            <a:r>
              <a:rPr lang="en-US" sz="800" spc="-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 hierarchy, Cost Center, Location, Union, Legal Entity,</a:t>
            </a:r>
          </a:p>
          <a:p>
            <a:pPr algn="ctr" defTabSz="1088211">
              <a:defRPr/>
            </a:pPr>
            <a:r>
              <a:rPr lang="en-US" sz="800" spc="-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dor, Work order</a:t>
            </a:r>
          </a:p>
        </p:txBody>
      </p:sp>
      <p:sp>
        <p:nvSpPr>
          <p:cNvPr id="125" name="OTLSHAPE_SLM_0aec949068fc4edb9016a17022f2fa0f_Title">
            <a:extLst>
              <a:ext uri="{FF2B5EF4-FFF2-40B4-BE49-F238E27FC236}">
                <a16:creationId xmlns:a16="http://schemas.microsoft.com/office/drawing/2014/main" id="{8E5A4A7D-A880-4B79-94C4-57097CA52A34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1591787" y="4991266"/>
            <a:ext cx="1527887" cy="24622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088211">
              <a:defRPr/>
            </a:pPr>
            <a:r>
              <a:rPr lang="en-US" sz="800" spc="-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force Data Governance </a:t>
            </a:r>
          </a:p>
          <a:p>
            <a:pPr algn="ctr" defTabSz="1088211">
              <a:defRPr/>
            </a:pPr>
            <a:r>
              <a:rPr lang="en-US" sz="800" spc="-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Rules/Requirement</a:t>
            </a:r>
          </a:p>
        </p:txBody>
      </p:sp>
      <p:sp>
        <p:nvSpPr>
          <p:cNvPr id="128" name="OTLSHAPE_SLM_0aec949068fc4edb9016a17022f2fa0f_Title">
            <a:extLst>
              <a:ext uri="{FF2B5EF4-FFF2-40B4-BE49-F238E27FC236}">
                <a16:creationId xmlns:a16="http://schemas.microsoft.com/office/drawing/2014/main" id="{4392698E-D3D0-4511-AAD9-590930A3BA33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4351203" y="4969924"/>
            <a:ext cx="1444004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088211">
              <a:defRPr/>
            </a:pPr>
            <a:r>
              <a:rPr lang="en-US" sz="800" spc="-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que Worker Persistent ID (leverage Tactical IAM MDM) , Key Worker &amp; </a:t>
            </a:r>
            <a:r>
              <a:rPr lang="en-US" sz="800" spc="-3" dirty="0">
                <a:solidFill>
                  <a:srgbClr val="55555A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Position </a:t>
            </a:r>
            <a:r>
              <a:rPr lang="en-US" sz="800" spc="-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elds, </a:t>
            </a:r>
            <a:endParaRPr lang="en-US" sz="800" spc="-3" dirty="0">
              <a:solidFill>
                <a:srgbClr val="55555A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9" name="OTLSHAPE_SLM_0aec949068fc4edb9016a17022f2fa0f_Title">
            <a:extLst>
              <a:ext uri="{FF2B5EF4-FFF2-40B4-BE49-F238E27FC236}">
                <a16:creationId xmlns:a16="http://schemas.microsoft.com/office/drawing/2014/main" id="{2CDBE013-8DE1-456F-AA83-2DBC8522E6F2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4510405" y="5781468"/>
            <a:ext cx="1101983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 spc="-3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MDM Worker </a:t>
            </a:r>
            <a:r>
              <a:rPr lang="en-US" sz="800" spc="-3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istent ID, Key worker fields, Position </a:t>
            </a:r>
            <a:r>
              <a:rPr lang="en-US" sz="800" spc="-3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Data Sync</a:t>
            </a:r>
          </a:p>
        </p:txBody>
      </p:sp>
      <p:sp>
        <p:nvSpPr>
          <p:cNvPr id="130" name="OTLSHAPE_SLM_0aec949068fc4edb9016a17022f2fa0f_Title">
            <a:extLst>
              <a:ext uri="{FF2B5EF4-FFF2-40B4-BE49-F238E27FC236}">
                <a16:creationId xmlns:a16="http://schemas.microsoft.com/office/drawing/2014/main" id="{12AF9E59-0931-4484-BD1E-B778914187C3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5746861" y="5784951"/>
            <a:ext cx="1588352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088211">
              <a:defRPr/>
            </a:pPr>
            <a:r>
              <a:rPr lang="en-US" sz="800" spc="-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DM Org hierarchy, Cost Center, Location, Union, Legal Entity,</a:t>
            </a:r>
          </a:p>
          <a:p>
            <a:pPr algn="ctr" defTabSz="1088211">
              <a:defRPr/>
            </a:pPr>
            <a:r>
              <a:rPr lang="en-US" sz="800" spc="-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dor, Work order Data Sync</a:t>
            </a:r>
          </a:p>
        </p:txBody>
      </p:sp>
      <p:sp>
        <p:nvSpPr>
          <p:cNvPr id="134" name="OTLSHAPE_SLM_0aec949068fc4edb9016a17022f2fa0f_Title">
            <a:extLst>
              <a:ext uri="{FF2B5EF4-FFF2-40B4-BE49-F238E27FC236}">
                <a16:creationId xmlns:a16="http://schemas.microsoft.com/office/drawing/2014/main" id="{630FF13C-04CF-4292-8284-E0977FB6E5B1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7635013" y="5785115"/>
            <a:ext cx="1334688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 spc="-3" dirty="0">
                <a:solidFill>
                  <a:srgbClr val="55555A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SF  </a:t>
            </a:r>
            <a:r>
              <a:rPr lang="en-US" sz="800" spc="-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ning, Competencies,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rformance Measure </a:t>
            </a:r>
            <a:r>
              <a:rPr lang="en-US" sz="800" spc="-3" dirty="0">
                <a:solidFill>
                  <a:srgbClr val="55555A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Data Sync</a:t>
            </a:r>
          </a:p>
        </p:txBody>
      </p:sp>
      <p:sp>
        <p:nvSpPr>
          <p:cNvPr id="151" name="OTLSHAPE_SLM_0aec949068fc4edb9016a17022f2fa0f_Title">
            <a:extLst>
              <a:ext uri="{FF2B5EF4-FFF2-40B4-BE49-F238E27FC236}">
                <a16:creationId xmlns:a16="http://schemas.microsoft.com/office/drawing/2014/main" id="{462158B7-509E-49DD-97DD-F8998B883356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960214" y="2242815"/>
            <a:ext cx="1287327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 dirty="0">
                <a:solidFill>
                  <a:srgbClr val="C800A1">
                    <a:lumMod val="60000"/>
                    <a:lumOff val="40000"/>
                  </a:srgbClr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AM Tactical MDM Solution with Unique </a:t>
            </a:r>
            <a:r>
              <a:rPr lang="en-US" sz="800" dirty="0">
                <a:solidFill>
                  <a:srgbClr val="C800A1">
                    <a:lumMod val="60000"/>
                    <a:lumOff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er Persistent ID </a:t>
            </a:r>
            <a:endParaRPr lang="en-US" sz="800" dirty="0">
              <a:solidFill>
                <a:srgbClr val="C800A1">
                  <a:lumMod val="60000"/>
                  <a:lumOff val="40000"/>
                </a:srgbClr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DCA6D242-BDDC-40D6-91DE-750F5A4CC991}"/>
              </a:ext>
            </a:extLst>
          </p:cNvPr>
          <p:cNvSpPr/>
          <p:nvPr/>
        </p:nvSpPr>
        <p:spPr>
          <a:xfrm>
            <a:off x="2812041" y="2176253"/>
            <a:ext cx="14430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 dirty="0">
                <a:solidFill>
                  <a:srgbClr val="00AFF0"/>
                </a:solidFill>
                <a:latin typeface="Arial"/>
                <a:ea typeface="ＭＳ Ｐゴシック"/>
              </a:rPr>
              <a:t>Impact analysis of ~120 workforce interfaces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80FC4415-DE21-4150-9DDA-E87EB66D3459}"/>
              </a:ext>
            </a:extLst>
          </p:cNvPr>
          <p:cNvSpPr/>
          <p:nvPr/>
        </p:nvSpPr>
        <p:spPr>
          <a:xfrm>
            <a:off x="2888273" y="4092033"/>
            <a:ext cx="12974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 dirty="0">
                <a:solidFill>
                  <a:srgbClr val="00AFF0"/>
                </a:solidFill>
                <a:latin typeface="Arial"/>
                <a:ea typeface="ＭＳ Ｐゴシック"/>
              </a:rPr>
              <a:t>MDM and EDP detail</a:t>
            </a:r>
          </a:p>
          <a:p>
            <a:pPr algn="ctr" defTabSz="1219140">
              <a:buClr>
                <a:srgbClr val="55555A"/>
              </a:buClr>
              <a:defRPr/>
            </a:pPr>
            <a:r>
              <a:rPr lang="en-US" sz="800" dirty="0">
                <a:solidFill>
                  <a:srgbClr val="00AFF0"/>
                </a:solidFill>
                <a:latin typeface="Arial"/>
                <a:ea typeface="ＭＳ Ｐゴシック"/>
              </a:rPr>
              <a:t>Roadmap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5BC10F2F-3AA3-403D-B736-7E2C9DF821AD}"/>
              </a:ext>
            </a:extLst>
          </p:cNvPr>
          <p:cNvSpPr/>
          <p:nvPr/>
        </p:nvSpPr>
        <p:spPr>
          <a:xfrm>
            <a:off x="1960033" y="2197934"/>
            <a:ext cx="1194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 dirty="0">
                <a:solidFill>
                  <a:srgbClr val="00AFF0"/>
                </a:solidFill>
                <a:latin typeface="Arial"/>
                <a:ea typeface="ＭＳ Ｐゴシック"/>
              </a:rPr>
              <a:t>Deep dive </a:t>
            </a:r>
          </a:p>
          <a:p>
            <a:pPr algn="ctr" defTabSz="1219140">
              <a:buClr>
                <a:srgbClr val="55555A"/>
              </a:buClr>
              <a:defRPr/>
            </a:pPr>
            <a:r>
              <a:rPr lang="en-US" sz="800" dirty="0">
                <a:solidFill>
                  <a:srgbClr val="00AFF0"/>
                </a:solidFill>
                <a:latin typeface="Arial"/>
                <a:ea typeface="ＭＳ Ｐゴシック"/>
              </a:rPr>
              <a:t>Integration issues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B5E8606D-6BBE-4D72-8A89-F887978C8248}"/>
              </a:ext>
            </a:extLst>
          </p:cNvPr>
          <p:cNvSpPr/>
          <p:nvPr/>
        </p:nvSpPr>
        <p:spPr>
          <a:xfrm>
            <a:off x="2816087" y="2545657"/>
            <a:ext cx="141647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 dirty="0">
                <a:solidFill>
                  <a:srgbClr val="00AFF0"/>
                </a:solidFill>
                <a:latin typeface="Arial"/>
                <a:ea typeface="ＭＳ Ｐゴシック"/>
              </a:rPr>
              <a:t>Consolidated systems and interfaces  Architecture View </a:t>
            </a:r>
          </a:p>
        </p:txBody>
      </p: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BD9540C8-AD87-4075-B827-952001AF80D6}"/>
              </a:ext>
            </a:extLst>
          </p:cNvPr>
          <p:cNvCxnSpPr>
            <a:cxnSpLocks/>
          </p:cNvCxnSpPr>
          <p:nvPr/>
        </p:nvCxnSpPr>
        <p:spPr bwMode="auto">
          <a:xfrm>
            <a:off x="6449129" y="1655930"/>
            <a:ext cx="61676" cy="411639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0" name="Rectangle 159">
            <a:extLst>
              <a:ext uri="{FF2B5EF4-FFF2-40B4-BE49-F238E27FC236}">
                <a16:creationId xmlns:a16="http://schemas.microsoft.com/office/drawing/2014/main" id="{6B5E7E98-2777-4F9B-B8DD-7A9DBE8C156D}"/>
              </a:ext>
            </a:extLst>
          </p:cNvPr>
          <p:cNvSpPr/>
          <p:nvPr/>
        </p:nvSpPr>
        <p:spPr>
          <a:xfrm>
            <a:off x="2883163" y="3055426"/>
            <a:ext cx="12974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 dirty="0">
                <a:solidFill>
                  <a:srgbClr val="00AFF0"/>
                </a:solidFill>
                <a:latin typeface="Arial"/>
                <a:ea typeface="ＭＳ Ｐゴシック"/>
              </a:rPr>
              <a:t>Enterprise data model and data glossary in ER/Studio</a:t>
            </a:r>
          </a:p>
        </p:txBody>
      </p:sp>
      <p:pic>
        <p:nvPicPr>
          <p:cNvPr id="161" name="Picture 160">
            <a:extLst>
              <a:ext uri="{FF2B5EF4-FFF2-40B4-BE49-F238E27FC236}">
                <a16:creationId xmlns:a16="http://schemas.microsoft.com/office/drawing/2014/main" id="{40AE57C9-0344-4A5C-BA32-15030DD77003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6366741" y="2020926"/>
            <a:ext cx="189572" cy="186247"/>
          </a:xfrm>
          <a:prstGeom prst="rect">
            <a:avLst/>
          </a:prstGeom>
        </p:spPr>
      </p:pic>
      <p:sp>
        <p:nvSpPr>
          <p:cNvPr id="164" name="OTLSHAPE_SLM_0aec949068fc4edb9016a17022f2fa0f_Shape">
            <a:extLst>
              <a:ext uri="{FF2B5EF4-FFF2-40B4-BE49-F238E27FC236}">
                <a16:creationId xmlns:a16="http://schemas.microsoft.com/office/drawing/2014/main" id="{6DEA526F-2898-401F-863A-D1AF5EC8F55C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6390471" y="1922341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65" name="OTLSHAPE_SLM_0aec949068fc4edb9016a17022f2fa0f_Title">
            <a:extLst>
              <a:ext uri="{FF2B5EF4-FFF2-40B4-BE49-F238E27FC236}">
                <a16:creationId xmlns:a16="http://schemas.microsoft.com/office/drawing/2014/main" id="{EF51F17A-54C5-4AE9-AE69-216B878AA657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3149427" y="4994428"/>
            <a:ext cx="812980" cy="24622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 spc="-3" dirty="0">
                <a:solidFill>
                  <a:srgbClr val="55555A"/>
                </a:solidFill>
                <a:latin typeface="Arial"/>
                <a:ea typeface="ＭＳ Ｐゴシック"/>
                <a:cs typeface="Calibri"/>
              </a:rPr>
              <a:t>Data Catalog, DQ Program</a:t>
            </a:r>
            <a:endParaRPr lang="en-US" sz="800" spc="-3" dirty="0">
              <a:solidFill>
                <a:srgbClr val="55555A"/>
              </a:solidFill>
              <a:latin typeface="Arial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68" name="OTLSHAPE_SLM_0aec949068fc4edb9016a17022f2fa0f_Shape">
            <a:extLst>
              <a:ext uri="{FF2B5EF4-FFF2-40B4-BE49-F238E27FC236}">
                <a16:creationId xmlns:a16="http://schemas.microsoft.com/office/drawing/2014/main" id="{52C275A8-C855-4943-A866-47019F028601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3475196" y="4772636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69" name="OTLSHAPE_SLM_0aec949068fc4edb9016a17022f2fa0f_Shape">
            <a:extLst>
              <a:ext uri="{FF2B5EF4-FFF2-40B4-BE49-F238E27FC236}">
                <a16:creationId xmlns:a16="http://schemas.microsoft.com/office/drawing/2014/main" id="{60F02E9D-D05E-4602-8ADE-5426A178ED1F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6456975" y="5594525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70" name="OTLSHAPE_SLM_0aec949068fc4edb9016a17022f2fa0f_Shape">
            <a:extLst>
              <a:ext uri="{FF2B5EF4-FFF2-40B4-BE49-F238E27FC236}">
                <a16:creationId xmlns:a16="http://schemas.microsoft.com/office/drawing/2014/main" id="{80AD804F-CA8D-4BE8-BE55-95A7AE303465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8230309" y="5582715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71" name="OTLSHAPE_SLM_0aec949068fc4edb9016a17022f2fa0f_Shape">
            <a:extLst>
              <a:ext uri="{FF2B5EF4-FFF2-40B4-BE49-F238E27FC236}">
                <a16:creationId xmlns:a16="http://schemas.microsoft.com/office/drawing/2014/main" id="{1ECB4C3A-0DCD-466E-85DF-E7E4BFBB7544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6431896" y="4797580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660C9837-0337-4839-A736-A0DA26A59A56}"/>
              </a:ext>
            </a:extLst>
          </p:cNvPr>
          <p:cNvSpPr/>
          <p:nvPr/>
        </p:nvSpPr>
        <p:spPr>
          <a:xfrm>
            <a:off x="4231614" y="2639462"/>
            <a:ext cx="15521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 dirty="0">
                <a:solidFill>
                  <a:srgbClr val="00AFF0"/>
                </a:solidFill>
                <a:latin typeface="Arial"/>
                <a:ea typeface="ＭＳ Ｐゴシック"/>
              </a:rPr>
              <a:t>Integration improvements to Downstream systems are driven from Golden Record recommendations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56EF18D1-B090-48AF-A816-131E9640B124}"/>
              </a:ext>
            </a:extLst>
          </p:cNvPr>
          <p:cNvSpPr/>
          <p:nvPr/>
        </p:nvSpPr>
        <p:spPr>
          <a:xfrm>
            <a:off x="4236522" y="3219865"/>
            <a:ext cx="155212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 dirty="0">
                <a:solidFill>
                  <a:srgbClr val="00AFF0"/>
                </a:solidFill>
                <a:latin typeface="Arial"/>
                <a:ea typeface="ＭＳ Ｐゴシック"/>
              </a:rPr>
              <a:t>KPIs and information ready to be consumed in a consistent approach (use of a EDP solution). </a:t>
            </a: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0F9A8353-56FF-4398-AA1E-6C70BFAA9642}"/>
              </a:ext>
            </a:extLst>
          </p:cNvPr>
          <p:cNvSpPr/>
          <p:nvPr/>
        </p:nvSpPr>
        <p:spPr>
          <a:xfrm>
            <a:off x="4260563" y="3799973"/>
            <a:ext cx="15525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 dirty="0">
                <a:solidFill>
                  <a:srgbClr val="00AFF0"/>
                </a:solidFill>
                <a:latin typeface="Arial"/>
                <a:ea typeface="ＭＳ Ｐゴシック"/>
              </a:rPr>
              <a:t>Implementation of data integration improvements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0BC23775-FE39-462E-B293-6BEC3BF0DF04}"/>
              </a:ext>
            </a:extLst>
          </p:cNvPr>
          <p:cNvSpPr/>
          <p:nvPr/>
        </p:nvSpPr>
        <p:spPr>
          <a:xfrm>
            <a:off x="4210867" y="4141815"/>
            <a:ext cx="165104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 dirty="0">
                <a:solidFill>
                  <a:srgbClr val="00AFF0"/>
                </a:solidFill>
                <a:latin typeface="Arial"/>
                <a:ea typeface="ＭＳ Ｐゴシック"/>
              </a:rPr>
              <a:t>Alignment  with Data Governance as an enabler for levels of communication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A23F34D0-9BFA-4831-B871-C4A55CDD64C7}"/>
              </a:ext>
            </a:extLst>
          </p:cNvPr>
          <p:cNvSpPr/>
          <p:nvPr/>
        </p:nvSpPr>
        <p:spPr>
          <a:xfrm>
            <a:off x="5710371" y="2602953"/>
            <a:ext cx="15525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 dirty="0">
                <a:solidFill>
                  <a:srgbClr val="00AFF0"/>
                </a:solidFill>
                <a:latin typeface="Arial"/>
                <a:ea typeface="ＭＳ Ｐゴシック"/>
              </a:rPr>
              <a:t>Implementation of data integration improvements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643D94BB-C307-414A-9B88-FCEEE9026B6B}"/>
              </a:ext>
            </a:extLst>
          </p:cNvPr>
          <p:cNvSpPr/>
          <p:nvPr/>
        </p:nvSpPr>
        <p:spPr>
          <a:xfrm>
            <a:off x="5701097" y="2986410"/>
            <a:ext cx="165104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 dirty="0">
                <a:solidFill>
                  <a:srgbClr val="00AFF0"/>
                </a:solidFill>
                <a:latin typeface="Arial"/>
                <a:ea typeface="ＭＳ Ｐゴシック"/>
              </a:rPr>
              <a:t>Alignment  with Data Governance as an enabler for levels of communication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CE07B6FD-43E3-4FA0-8963-A1A55D1B4ED9}"/>
              </a:ext>
            </a:extLst>
          </p:cNvPr>
          <p:cNvSpPr/>
          <p:nvPr/>
        </p:nvSpPr>
        <p:spPr>
          <a:xfrm>
            <a:off x="7512688" y="2183748"/>
            <a:ext cx="15525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 dirty="0">
                <a:solidFill>
                  <a:srgbClr val="00AFF0"/>
                </a:solidFill>
                <a:latin typeface="Arial"/>
                <a:ea typeface="ＭＳ Ｐゴシック"/>
              </a:rPr>
              <a:t>Implementation of data integration improvements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EFAC2A76-68A9-4223-BA6D-EEB3F734F81F}"/>
              </a:ext>
            </a:extLst>
          </p:cNvPr>
          <p:cNvSpPr/>
          <p:nvPr/>
        </p:nvSpPr>
        <p:spPr>
          <a:xfrm>
            <a:off x="7400834" y="2568277"/>
            <a:ext cx="17960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 dirty="0">
                <a:solidFill>
                  <a:srgbClr val="00AFF0"/>
                </a:solidFill>
                <a:latin typeface="Arial"/>
                <a:ea typeface="ＭＳ Ｐゴシック"/>
              </a:rPr>
              <a:t>Alignment  with Data Governance as an enabler for levels of communication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62871BFF-17C3-4025-A94E-A11801DCD712}"/>
              </a:ext>
            </a:extLst>
          </p:cNvPr>
          <p:cNvSpPr/>
          <p:nvPr/>
        </p:nvSpPr>
        <p:spPr>
          <a:xfrm>
            <a:off x="2847127" y="3548711"/>
            <a:ext cx="13959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 dirty="0">
                <a:solidFill>
                  <a:srgbClr val="00AFF0"/>
                </a:solidFill>
                <a:latin typeface="Arial"/>
                <a:ea typeface="ＭＳ Ｐゴシック"/>
              </a:rPr>
              <a:t>Data Linage &amp; Data Glossary in Informatica Data Catalog tool</a:t>
            </a:r>
          </a:p>
        </p:txBody>
      </p:sp>
      <p:sp>
        <p:nvSpPr>
          <p:cNvPr id="189" name="OTLSHAPE_SLM_0aec949068fc4edb9016a17022f2fa0f_Title">
            <a:extLst>
              <a:ext uri="{FF2B5EF4-FFF2-40B4-BE49-F238E27FC236}">
                <a16:creationId xmlns:a16="http://schemas.microsoft.com/office/drawing/2014/main" id="{C88D507E-CD29-4CB6-BAB8-24B3D1664B9F}"/>
              </a:ext>
            </a:extLst>
          </p:cNvPr>
          <p:cNvSpPr txBox="1"/>
          <p:nvPr>
            <p:custDataLst>
              <p:tags r:id="rId33"/>
            </p:custDataLst>
          </p:nvPr>
        </p:nvSpPr>
        <p:spPr>
          <a:xfrm>
            <a:off x="5920324" y="2210898"/>
            <a:ext cx="1144309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 dirty="0">
                <a:solidFill>
                  <a:srgbClr val="C800A1">
                    <a:lumMod val="60000"/>
                    <a:lumOff val="40000"/>
                  </a:srgbClr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Transition  and retire  IAM Interim MDM Solution</a:t>
            </a:r>
          </a:p>
        </p:txBody>
      </p:sp>
      <p:sp>
        <p:nvSpPr>
          <p:cNvPr id="102" name="Title 1">
            <a:extLst>
              <a:ext uri="{FF2B5EF4-FFF2-40B4-BE49-F238E27FC236}">
                <a16:creationId xmlns:a16="http://schemas.microsoft.com/office/drawing/2014/main" id="{B9C48391-D516-4B99-9594-2AABB5CA04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593" y="98941"/>
            <a:ext cx="11842703" cy="50259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/>
              <a:t>Workforce Data Domain Proposed Roadmap </a:t>
            </a:r>
            <a:r>
              <a:rPr lang="en-GB" sz="1000" dirty="0"/>
              <a:t>(As of Jun 2021)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721EC70C-5342-4A33-BCF1-291E49A50ABD}"/>
              </a:ext>
            </a:extLst>
          </p:cNvPr>
          <p:cNvSpPr/>
          <p:nvPr/>
        </p:nvSpPr>
        <p:spPr>
          <a:xfrm>
            <a:off x="818457" y="1031579"/>
            <a:ext cx="534721" cy="242907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Jun</a:t>
            </a: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FB3D620A-8CB3-4820-95E0-4C8002CD2BAB}"/>
              </a:ext>
            </a:extLst>
          </p:cNvPr>
          <p:cNvSpPr/>
          <p:nvPr/>
        </p:nvSpPr>
        <p:spPr>
          <a:xfrm>
            <a:off x="262752" y="1030697"/>
            <a:ext cx="534721" cy="251675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May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7FC6D5AD-037E-45E6-99D3-7EABEBB0A762}"/>
              </a:ext>
            </a:extLst>
          </p:cNvPr>
          <p:cNvSpPr txBox="1"/>
          <p:nvPr/>
        </p:nvSpPr>
        <p:spPr bwMode="auto">
          <a:xfrm flipH="1">
            <a:off x="262749" y="737811"/>
            <a:ext cx="4826849" cy="225767"/>
          </a:xfrm>
          <a:prstGeom prst="rect">
            <a:avLst/>
          </a:prstGeom>
          <a:solidFill>
            <a:srgbClr val="C800A1"/>
          </a:solidFill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defTabSz="685766" fontAlgn="auto">
              <a:spcBef>
                <a:spcPts val="0"/>
              </a:spcBef>
              <a:buClr>
                <a:srgbClr val="55555A"/>
              </a:buClr>
              <a:defRPr sz="1100">
                <a:solidFill>
                  <a:srgbClr val="FFFFFF"/>
                </a:solidFill>
                <a:latin typeface="Arial"/>
                <a:ea typeface="ＭＳ Ｐゴシック"/>
              </a:defRPr>
            </a:lvl1pPr>
          </a:lstStyle>
          <a:p>
            <a:r>
              <a:rPr lang="en-US" sz="1467"/>
              <a:t>2021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AD76B765-BC7D-4449-ADC6-3EEBC2FD3093}"/>
              </a:ext>
            </a:extLst>
          </p:cNvPr>
          <p:cNvSpPr/>
          <p:nvPr/>
        </p:nvSpPr>
        <p:spPr>
          <a:xfrm>
            <a:off x="1965679" y="1028514"/>
            <a:ext cx="608621" cy="250465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Aug</a:t>
            </a: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640C00B8-4E69-40B8-9564-1AD1951C71F6}"/>
              </a:ext>
            </a:extLst>
          </p:cNvPr>
          <p:cNvSpPr/>
          <p:nvPr/>
        </p:nvSpPr>
        <p:spPr>
          <a:xfrm>
            <a:off x="1375687" y="1031202"/>
            <a:ext cx="559160" cy="245173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Jul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8B6B909B-E542-4F5F-A56C-FAF78A99BCA1}"/>
              </a:ext>
            </a:extLst>
          </p:cNvPr>
          <p:cNvSpPr/>
          <p:nvPr/>
        </p:nvSpPr>
        <p:spPr>
          <a:xfrm>
            <a:off x="4476372" y="1027844"/>
            <a:ext cx="608621" cy="243387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Dec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3EB7719E-8674-43A8-8886-38FD1C3569F8}"/>
              </a:ext>
            </a:extLst>
          </p:cNvPr>
          <p:cNvSpPr/>
          <p:nvPr/>
        </p:nvSpPr>
        <p:spPr>
          <a:xfrm>
            <a:off x="3841218" y="1029668"/>
            <a:ext cx="608621" cy="249091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Nov</a:t>
            </a: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24E574EF-8163-40B1-8415-B7AF1116807F}"/>
              </a:ext>
            </a:extLst>
          </p:cNvPr>
          <p:cNvSpPr/>
          <p:nvPr/>
        </p:nvSpPr>
        <p:spPr>
          <a:xfrm>
            <a:off x="5123440" y="1028155"/>
            <a:ext cx="534721" cy="242907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Jan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1E0EB145-F508-47BC-B133-BCBC583F398D}"/>
              </a:ext>
            </a:extLst>
          </p:cNvPr>
          <p:cNvSpPr txBox="1"/>
          <p:nvPr/>
        </p:nvSpPr>
        <p:spPr bwMode="auto">
          <a:xfrm flipH="1">
            <a:off x="5123439" y="738941"/>
            <a:ext cx="6783488" cy="225767"/>
          </a:xfrm>
          <a:prstGeom prst="rect">
            <a:avLst/>
          </a:prstGeom>
          <a:solidFill>
            <a:srgbClr val="C800A1"/>
          </a:solidFill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defTabSz="685766" fontAlgn="auto">
              <a:spcBef>
                <a:spcPts val="0"/>
              </a:spcBef>
              <a:buClr>
                <a:srgbClr val="55555A"/>
              </a:buClr>
              <a:defRPr sz="1100">
                <a:solidFill>
                  <a:srgbClr val="FFFFFF"/>
                </a:solidFill>
                <a:latin typeface="Arial"/>
                <a:ea typeface="ＭＳ Ｐゴシック"/>
              </a:defRPr>
            </a:lvl1pPr>
          </a:lstStyle>
          <a:p>
            <a:r>
              <a:rPr lang="en-US" sz="1467" dirty="0"/>
              <a:t>2022</a:t>
            </a: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2F9AD033-3222-4BE0-81B8-8C33382DF5EF}"/>
              </a:ext>
            </a:extLst>
          </p:cNvPr>
          <p:cNvSpPr/>
          <p:nvPr/>
        </p:nvSpPr>
        <p:spPr>
          <a:xfrm>
            <a:off x="5687017" y="1030354"/>
            <a:ext cx="534721" cy="246021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Feb</a:t>
            </a: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B0149444-B59B-48C5-8735-29E22194356F}"/>
              </a:ext>
            </a:extLst>
          </p:cNvPr>
          <p:cNvSpPr/>
          <p:nvPr/>
        </p:nvSpPr>
        <p:spPr>
          <a:xfrm>
            <a:off x="6256437" y="1027085"/>
            <a:ext cx="534721" cy="249288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Mar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0931DAF4-D016-4DED-A438-A2C32F38C6C0}"/>
              </a:ext>
            </a:extLst>
          </p:cNvPr>
          <p:cNvSpPr/>
          <p:nvPr/>
        </p:nvSpPr>
        <p:spPr>
          <a:xfrm>
            <a:off x="7340260" y="1027085"/>
            <a:ext cx="486771" cy="251673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May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1BDB6959-B939-4791-8329-9A32CF1A93BC}"/>
              </a:ext>
            </a:extLst>
          </p:cNvPr>
          <p:cNvSpPr/>
          <p:nvPr/>
        </p:nvSpPr>
        <p:spPr>
          <a:xfrm>
            <a:off x="6817058" y="1027085"/>
            <a:ext cx="490484" cy="251672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Apr</a:t>
            </a: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EBBCFCEB-8F54-40F4-85A1-D334FE73D4C9}"/>
              </a:ext>
            </a:extLst>
          </p:cNvPr>
          <p:cNvSpPr/>
          <p:nvPr/>
        </p:nvSpPr>
        <p:spPr>
          <a:xfrm>
            <a:off x="3234899" y="1032679"/>
            <a:ext cx="578429" cy="239880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Oct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86B0DEE9-AE44-4D7D-A118-2A0A69ACD663}"/>
              </a:ext>
            </a:extLst>
          </p:cNvPr>
          <p:cNvSpPr/>
          <p:nvPr/>
        </p:nvSpPr>
        <p:spPr>
          <a:xfrm>
            <a:off x="2601259" y="1033965"/>
            <a:ext cx="608621" cy="242409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Sep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2A893023-7845-4D83-B67D-EA67DA1F7565}"/>
              </a:ext>
            </a:extLst>
          </p:cNvPr>
          <p:cNvSpPr/>
          <p:nvPr/>
        </p:nvSpPr>
        <p:spPr>
          <a:xfrm>
            <a:off x="10817097" y="1026096"/>
            <a:ext cx="534721" cy="253827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Nov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51200885-13CD-408C-A33F-DCE08522E70E}"/>
              </a:ext>
            </a:extLst>
          </p:cNvPr>
          <p:cNvSpPr/>
          <p:nvPr/>
        </p:nvSpPr>
        <p:spPr>
          <a:xfrm>
            <a:off x="11372206" y="1026096"/>
            <a:ext cx="534721" cy="253827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Dec</a:t>
            </a: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AF0BBABA-21F1-48CA-98FE-20C93CF9CFC2}"/>
              </a:ext>
            </a:extLst>
          </p:cNvPr>
          <p:cNvSpPr/>
          <p:nvPr/>
        </p:nvSpPr>
        <p:spPr>
          <a:xfrm>
            <a:off x="10262010" y="1026869"/>
            <a:ext cx="534721" cy="252633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Oct</a:t>
            </a: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87753CB6-4BB5-41E6-98D8-82C8331EEA84}"/>
              </a:ext>
            </a:extLst>
          </p:cNvPr>
          <p:cNvSpPr/>
          <p:nvPr/>
        </p:nvSpPr>
        <p:spPr>
          <a:xfrm>
            <a:off x="7849041" y="1027259"/>
            <a:ext cx="534721" cy="245141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Jun</a:t>
            </a: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1AD4B63A-D55F-488F-A11D-D29D0C71F13E}"/>
              </a:ext>
            </a:extLst>
          </p:cNvPr>
          <p:cNvSpPr/>
          <p:nvPr/>
        </p:nvSpPr>
        <p:spPr>
          <a:xfrm>
            <a:off x="8996263" y="1032841"/>
            <a:ext cx="608621" cy="246139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Aug</a:t>
            </a: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5ED5B048-6116-461D-B9C7-83B164EAC102}"/>
              </a:ext>
            </a:extLst>
          </p:cNvPr>
          <p:cNvSpPr/>
          <p:nvPr/>
        </p:nvSpPr>
        <p:spPr>
          <a:xfrm>
            <a:off x="8406271" y="1026881"/>
            <a:ext cx="559160" cy="250465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Jul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A18A5F3C-7CC8-4A22-B9C3-07546F0BF733}"/>
              </a:ext>
            </a:extLst>
          </p:cNvPr>
          <p:cNvSpPr/>
          <p:nvPr/>
        </p:nvSpPr>
        <p:spPr>
          <a:xfrm>
            <a:off x="9631843" y="1029645"/>
            <a:ext cx="608621" cy="249335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 dirty="0">
                <a:solidFill>
                  <a:srgbClr val="FFFFFF"/>
                </a:solidFill>
                <a:latin typeface="Arial"/>
                <a:ea typeface="ＭＳ Ｐゴシック"/>
              </a:rPr>
              <a:t>Sep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99E9389B-E5B1-4B32-B261-29D796C9A240}"/>
              </a:ext>
            </a:extLst>
          </p:cNvPr>
          <p:cNvSpPr txBox="1"/>
          <p:nvPr/>
        </p:nvSpPr>
        <p:spPr bwMode="auto">
          <a:xfrm>
            <a:off x="5971721" y="6222868"/>
            <a:ext cx="4582316" cy="60785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267"/>
              </a:spcAft>
            </a:pPr>
            <a:r>
              <a:rPr lang="en-US" sz="800" dirty="0"/>
              <a:t>Note: </a:t>
            </a:r>
          </a:p>
          <a:p>
            <a:pPr marL="228589" indent="-228589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US" sz="800" dirty="0"/>
              <a:t>All Timelines are subject to budget approval</a:t>
            </a:r>
          </a:p>
          <a:p>
            <a:pPr marL="228589" indent="-228589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US" sz="800" dirty="0"/>
              <a:t>Scope of each release will be finalized as per pre-work findings</a:t>
            </a:r>
          </a:p>
          <a:p>
            <a:pPr marL="228589" indent="-228589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US" sz="800" dirty="0"/>
              <a:t>Future Release timeline will be changed based on the current release date change</a:t>
            </a:r>
          </a:p>
        </p:txBody>
      </p:sp>
      <p:sp>
        <p:nvSpPr>
          <p:cNvPr id="99" name="OTLSHAPE_SLM_0aec949068fc4edb9016a17022f2fa0f_Title">
            <a:extLst>
              <a:ext uri="{FF2B5EF4-FFF2-40B4-BE49-F238E27FC236}">
                <a16:creationId xmlns:a16="http://schemas.microsoft.com/office/drawing/2014/main" id="{1C85BA79-D196-4613-B86F-DC6CFF585277}"/>
              </a:ext>
            </a:extLst>
          </p:cNvPr>
          <p:cNvSpPr txBox="1"/>
          <p:nvPr>
            <p:custDataLst>
              <p:tags r:id="rId34"/>
            </p:custDataLst>
          </p:nvPr>
        </p:nvSpPr>
        <p:spPr>
          <a:xfrm>
            <a:off x="4337967" y="2237490"/>
            <a:ext cx="1313733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 dirty="0">
                <a:solidFill>
                  <a:srgbClr val="C800A1">
                    <a:lumMod val="60000"/>
                    <a:lumOff val="40000"/>
                  </a:srgbClr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Retire/replace  IAM Interim MDM Unique Worker Persistent ID Generation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B4630AED-FBFE-43B7-A065-7D134A3A0A33}"/>
              </a:ext>
            </a:extLst>
          </p:cNvPr>
          <p:cNvSpPr/>
          <p:nvPr/>
        </p:nvSpPr>
        <p:spPr>
          <a:xfrm>
            <a:off x="16179" y="1291753"/>
            <a:ext cx="788742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40">
              <a:buClr>
                <a:srgbClr val="55555A"/>
              </a:buClr>
              <a:defRPr/>
            </a:pPr>
            <a:r>
              <a:rPr lang="en-US" sz="1067" spc="-3" dirty="0">
                <a:solidFill>
                  <a:srgbClr val="55555A"/>
                </a:solidFill>
                <a:latin typeface="Arial"/>
                <a:ea typeface="ＭＳ Ｐゴシック"/>
              </a:rPr>
              <a:t>Releases:</a:t>
            </a:r>
            <a:endParaRPr lang="en-US" sz="1067" dirty="0">
              <a:solidFill>
                <a:srgbClr val="00148C"/>
              </a:solidFill>
              <a:latin typeface="Arial"/>
              <a:ea typeface="ＭＳ Ｐゴシック"/>
            </a:endParaRPr>
          </a:p>
        </p:txBody>
      </p:sp>
      <p:sp>
        <p:nvSpPr>
          <p:cNvPr id="92" name="OTLSHAPE_SLT_e8a0d0690d7843edaca796e8b25719da_Shape">
            <a:extLst>
              <a:ext uri="{FF2B5EF4-FFF2-40B4-BE49-F238E27FC236}">
                <a16:creationId xmlns:a16="http://schemas.microsoft.com/office/drawing/2014/main" id="{054830F4-5D32-4072-AFD0-F6396B161CA4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164877" y="1524849"/>
            <a:ext cx="2643028" cy="166992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/>
              <a:t>MDM Tool</a:t>
            </a:r>
          </a:p>
        </p:txBody>
      </p:sp>
      <p:sp>
        <p:nvSpPr>
          <p:cNvPr id="101" name="OTLSHAPE_SLM_0aec949068fc4edb9016a17022f2fa0f_Shape">
            <a:extLst>
              <a:ext uri="{FF2B5EF4-FFF2-40B4-BE49-F238E27FC236}">
                <a16:creationId xmlns:a16="http://schemas.microsoft.com/office/drawing/2014/main" id="{91E259F9-21CC-47FB-BD98-E9C1834561CC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2644458" y="1526739"/>
            <a:ext cx="136207" cy="171973"/>
          </a:xfrm>
          <a:prstGeom prst="diamond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B050"/>
              </a:solidFill>
              <a:highlight>
                <a:srgbClr val="FF0000"/>
              </a:highlight>
            </a:endParaRPr>
          </a:p>
        </p:txBody>
      </p:sp>
      <p:sp>
        <p:nvSpPr>
          <p:cNvPr id="104" name="OTLSHAPE_SLM_0aec949068fc4edb9016a17022f2fa0f_Title">
            <a:extLst>
              <a:ext uri="{FF2B5EF4-FFF2-40B4-BE49-F238E27FC236}">
                <a16:creationId xmlns:a16="http://schemas.microsoft.com/office/drawing/2014/main" id="{86B971EC-004B-4958-BB13-A3F59EEF47B9}"/>
              </a:ext>
            </a:extLst>
          </p:cNvPr>
          <p:cNvSpPr txBox="1"/>
          <p:nvPr>
            <p:custDataLst>
              <p:tags r:id="rId37"/>
            </p:custDataLst>
          </p:nvPr>
        </p:nvSpPr>
        <p:spPr>
          <a:xfrm>
            <a:off x="2295207" y="1228119"/>
            <a:ext cx="870876" cy="3385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en-US" sz="1100" spc="-3" dirty="0">
                <a:solidFill>
                  <a:schemeClr val="dk1"/>
                </a:solidFill>
                <a:latin typeface="Calibri" panose="020F0502020204030204" pitchFamily="34" charset="0"/>
              </a:rPr>
              <a:t>MDM  tool</a:t>
            </a:r>
          </a:p>
          <a:p>
            <a:pPr algn="ctr"/>
            <a:r>
              <a:rPr lang="en-US" sz="1100" spc="-3" dirty="0">
                <a:solidFill>
                  <a:schemeClr val="dk1"/>
                </a:solidFill>
                <a:latin typeface="Calibri" panose="020F0502020204030204" pitchFamily="34" charset="0"/>
              </a:rPr>
              <a:t>Ready to use</a:t>
            </a:r>
          </a:p>
        </p:txBody>
      </p:sp>
    </p:spTree>
    <p:extLst>
      <p:ext uri="{BB962C8B-B14F-4D97-AF65-F5344CB8AC3E}">
        <p14:creationId xmlns:p14="http://schemas.microsoft.com/office/powerpoint/2010/main" val="292494648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tfSuvqSLu4ebUrAMz.S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SaKwkYR4GTnWOaOLtG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7DtlTNS4.psaVM1VS4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AHH1g1Stmxu.glsE.I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3OKrlh09NdSNKWbeIgM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_e.E3yT42oFfBlHr8Gj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FnPCGpS4q2RXSu1EszH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CfKIAuSz2Mcehxx5.D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iTy6xiOIMOVtaI0U9IW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.NVOOvRO6SBH3ZrUoDu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US NG_2018 PPT_Energy Lines Template 16x9 [Read-Only]" id="{4657108C-CAD3-44AC-B13C-CD074A2E51E8}" vid="{35BB5C37-5BE8-43BF-9925-D45D04A5B4D7}"/>
    </a:ext>
  </a:extLst>
</a:theme>
</file>

<file path=ppt/theme/theme2.xml><?xml version="1.0" encoding="utf-8"?>
<a:theme xmlns:a="http://schemas.openxmlformats.org/drawingml/2006/main" name="1_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solidFill>
          <a:srgbClr val="00148C"/>
        </a:solidFill>
        <a:ln w="9525" cap="flat" cmpd="sng" algn="ctr">
          <a:solidFill>
            <a:sysClr val="window" lastClr="FFFFFF">
              <a:lumMod val="50000"/>
            </a:sysClr>
          </a:solidFill>
          <a:prstDash val="sys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US NG_2018 PPT_Energy Lines Template 16x9 [Read-Only]" id="{4657108C-CAD3-44AC-B13C-CD074A2E51E8}" vid="{35BB5C37-5BE8-43BF-9925-D45D04A5B4D7}"/>
    </a:ext>
  </a:extLst>
</a:theme>
</file>

<file path=ppt/theme/theme3.xml><?xml version="1.0" encoding="utf-8"?>
<a:theme xmlns:a="http://schemas.openxmlformats.org/drawingml/2006/main" name="2_Titles">
  <a:themeElements>
    <a:clrScheme name="ACN_Standart_2018">
      <a:dk1>
        <a:sysClr val="windowText" lastClr="000000"/>
      </a:dk1>
      <a:lt1>
        <a:sysClr val="window" lastClr="FFFFFF"/>
      </a:lt1>
      <a:dk2>
        <a:srgbClr val="BEBEBE"/>
      </a:dk2>
      <a:lt2>
        <a:srgbClr val="5A5A5A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2800FF"/>
      </a:hlink>
      <a:folHlink>
        <a:srgbClr val="7E00FF"/>
      </a:folHlink>
    </a:clrScheme>
    <a:fontScheme name="Benutzerdefiniert 11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4.xml><?xml version="1.0" encoding="utf-8"?>
<a:theme xmlns:a="http://schemas.openxmlformats.org/drawingml/2006/main" name="Content Layouts">
  <a:themeElements>
    <a:clrScheme name="Accenture MasterBrand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7E00FF"/>
      </a:accent1>
      <a:accent2>
        <a:srgbClr val="FF0000"/>
      </a:accent2>
      <a:accent3>
        <a:srgbClr val="2800FF"/>
      </a:accent3>
      <a:accent4>
        <a:srgbClr val="00BAFF"/>
      </a:accent4>
      <a:accent5>
        <a:srgbClr val="00FF7D"/>
      </a:accent5>
      <a:accent6>
        <a:srgbClr val="FFEA00"/>
      </a:accent6>
      <a:hlink>
        <a:srgbClr val="2800FF"/>
      </a:hlink>
      <a:folHlink>
        <a:srgbClr val="7E00FF"/>
      </a:folHlink>
    </a:clrScheme>
    <a:fontScheme name="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5" id="{4007F9DA-96E2-4AF0-BDD4-D195919EC94B}" vid="{DE9766F9-014C-4693-AE2B-35F1D353A358}"/>
    </a:ext>
  </a:extLst>
</a:theme>
</file>

<file path=ppt/theme/theme5.xml><?xml version="1.0" encoding="utf-8"?>
<a:theme xmlns:a="http://schemas.openxmlformats.org/drawingml/2006/main" name="NG_PPT_16x9_Generic_template-blue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NG PowerPoint Template 16x9 2018" id="{8DB84FBE-EA52-ED4D-A583-A25345CAC623}" vid="{88F07E53-A129-264F-8CD1-4B8FC20218EE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04553ff-5444-4dd5-ba90-cf9ec227a264">
      <UserInfo>
        <DisplayName>Tripathi, Bharat</DisplayName>
        <AccountId>13</AccountId>
        <AccountType/>
      </UserInfo>
      <UserInfo>
        <DisplayName>Senter, Daniel</DisplayName>
        <AccountId>10</AccountId>
        <AccountType/>
      </UserInfo>
      <UserInfo>
        <DisplayName>Ajwaliya, Nishit</DisplayName>
        <AccountId>14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AD0F478B68CCB418629D5A3D5ECB678" ma:contentTypeVersion="13" ma:contentTypeDescription="Create a new document." ma:contentTypeScope="" ma:versionID="0cdef9792d70593cc0249c268eb6251e">
  <xsd:schema xmlns:xsd="http://www.w3.org/2001/XMLSchema" xmlns:xs="http://www.w3.org/2001/XMLSchema" xmlns:p="http://schemas.microsoft.com/office/2006/metadata/properties" xmlns:ns3="2fb88c42-9484-45db-b1a7-c717f8961fa6" xmlns:ns4="d04553ff-5444-4dd5-ba90-cf9ec227a264" targetNamespace="http://schemas.microsoft.com/office/2006/metadata/properties" ma:root="true" ma:fieldsID="b24b326b9ed5cbe12549767b6286b610" ns3:_="" ns4:_="">
    <xsd:import namespace="2fb88c42-9484-45db-b1a7-c717f8961fa6"/>
    <xsd:import namespace="d04553ff-5444-4dd5-ba90-cf9ec227a26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OCR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b88c42-9484-45db-b1a7-c717f8961f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4553ff-5444-4dd5-ba90-cf9ec227a264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F4F00D4-A9B9-4ED6-8D29-9E89EF72FF0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b88c42-9484-45db-b1a7-c717f8961fa6"/>
    <ds:schemaRef ds:uri="http://purl.org/dc/terms/"/>
    <ds:schemaRef ds:uri="http://schemas.openxmlformats.org/package/2006/metadata/core-properties"/>
    <ds:schemaRef ds:uri="d04553ff-5444-4dd5-ba90-cf9ec227a264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5926C6A-B08D-43FA-A71A-640E51B8093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33C3CF0-63D8-4747-B6CC-D6F43D28AEC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fb88c42-9484-45db-b1a7-c717f8961fa6"/>
    <ds:schemaRef ds:uri="d04553ff-5444-4dd5-ba90-cf9ec227a26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03</TotalTime>
  <Words>574</Words>
  <Application>Microsoft Office PowerPoint</Application>
  <PresentationFormat>Widescreen</PresentationFormat>
  <Paragraphs>87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16" baseType="lpstr">
      <vt:lpstr>Arial</vt:lpstr>
      <vt:lpstr>Arial Black</vt:lpstr>
      <vt:lpstr>Calibri</vt:lpstr>
      <vt:lpstr>Graphik</vt:lpstr>
      <vt:lpstr>Graphik Black</vt:lpstr>
      <vt:lpstr>Symbol</vt:lpstr>
      <vt:lpstr>2_US NG_2018 PPT__EnergyLines Template 16x9</vt:lpstr>
      <vt:lpstr>1_US NG_2018 PPT__EnergyLines Template 16x9</vt:lpstr>
      <vt:lpstr>2_Titles</vt:lpstr>
      <vt:lpstr>Content Layouts</vt:lpstr>
      <vt:lpstr>NG_PPT_16x9_Generic_template-blue</vt:lpstr>
      <vt:lpstr>think-cell Folie</vt:lpstr>
      <vt:lpstr>think-cell Slide</vt:lpstr>
      <vt:lpstr>Future High Level Architecture</vt:lpstr>
      <vt:lpstr>Future Detail Architecture</vt:lpstr>
      <vt:lpstr>Workforce Data Domain Proposed Roadmap (As of Jun 2021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Assessment  Summary Pack</dc:title>
  <dc:creator>Tim Reynolds</dc:creator>
  <cp:lastModifiedBy>Ajwaliya, Nishit</cp:lastModifiedBy>
  <cp:revision>3</cp:revision>
  <dcterms:created xsi:type="dcterms:W3CDTF">2020-07-13T09:08:15Z</dcterms:created>
  <dcterms:modified xsi:type="dcterms:W3CDTF">2021-11-01T16:32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AD0F478B68CCB418629D5A3D5ECB678</vt:lpwstr>
  </property>
</Properties>
</file>